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7" r:id="rId4"/>
    <p:sldMasterId id="2147483711" r:id="rId5"/>
  </p:sldMasterIdLst>
  <p:notesMasterIdLst>
    <p:notesMasterId r:id="rId108"/>
  </p:notesMasterIdLst>
  <p:handoutMasterIdLst>
    <p:handoutMasterId r:id="rId109"/>
  </p:handoutMasterIdLst>
  <p:sldIdLst>
    <p:sldId id="410" r:id="rId6"/>
    <p:sldId id="418" r:id="rId7"/>
    <p:sldId id="301" r:id="rId8"/>
    <p:sldId id="409" r:id="rId9"/>
    <p:sldId id="407" r:id="rId10"/>
    <p:sldId id="408" r:id="rId11"/>
    <p:sldId id="405" r:id="rId12"/>
    <p:sldId id="402" r:id="rId13"/>
    <p:sldId id="404" r:id="rId14"/>
    <p:sldId id="415" r:id="rId15"/>
    <p:sldId id="414" r:id="rId16"/>
    <p:sldId id="416" r:id="rId17"/>
    <p:sldId id="417" r:id="rId18"/>
    <p:sldId id="400" r:id="rId19"/>
    <p:sldId id="300" r:id="rId20"/>
    <p:sldId id="323" r:id="rId21"/>
    <p:sldId id="324" r:id="rId22"/>
    <p:sldId id="325" r:id="rId23"/>
    <p:sldId id="326" r:id="rId24"/>
    <p:sldId id="327" r:id="rId25"/>
    <p:sldId id="328" r:id="rId26"/>
    <p:sldId id="394" r:id="rId27"/>
    <p:sldId id="349" r:id="rId28"/>
    <p:sldId id="392" r:id="rId29"/>
    <p:sldId id="395" r:id="rId30"/>
    <p:sldId id="363" r:id="rId31"/>
    <p:sldId id="368" r:id="rId32"/>
    <p:sldId id="367" r:id="rId33"/>
    <p:sldId id="366" r:id="rId34"/>
    <p:sldId id="344" r:id="rId35"/>
    <p:sldId id="322" r:id="rId36"/>
    <p:sldId id="364" r:id="rId37"/>
    <p:sldId id="365" r:id="rId38"/>
    <p:sldId id="396" r:id="rId39"/>
    <p:sldId id="315" r:id="rId40"/>
    <p:sldId id="347" r:id="rId41"/>
    <p:sldId id="316" r:id="rId42"/>
    <p:sldId id="393" r:id="rId43"/>
    <p:sldId id="362" r:id="rId44"/>
    <p:sldId id="397" r:id="rId45"/>
    <p:sldId id="369" r:id="rId46"/>
    <p:sldId id="370" r:id="rId47"/>
    <p:sldId id="371" r:id="rId48"/>
    <p:sldId id="372" r:id="rId49"/>
    <p:sldId id="373" r:id="rId50"/>
    <p:sldId id="374" r:id="rId51"/>
    <p:sldId id="375" r:id="rId52"/>
    <p:sldId id="377" r:id="rId53"/>
    <p:sldId id="378" r:id="rId54"/>
    <p:sldId id="379" r:id="rId55"/>
    <p:sldId id="380" r:id="rId56"/>
    <p:sldId id="381" r:id="rId57"/>
    <p:sldId id="382" r:id="rId58"/>
    <p:sldId id="383" r:id="rId59"/>
    <p:sldId id="384" r:id="rId60"/>
    <p:sldId id="351" r:id="rId61"/>
    <p:sldId id="385" r:id="rId62"/>
    <p:sldId id="386" r:id="rId63"/>
    <p:sldId id="308" r:id="rId64"/>
    <p:sldId id="318" r:id="rId65"/>
    <p:sldId id="319" r:id="rId66"/>
    <p:sldId id="317" r:id="rId67"/>
    <p:sldId id="320" r:id="rId68"/>
    <p:sldId id="339" r:id="rId69"/>
    <p:sldId id="334" r:id="rId70"/>
    <p:sldId id="337" r:id="rId71"/>
    <p:sldId id="350" r:id="rId72"/>
    <p:sldId id="391" r:id="rId73"/>
    <p:sldId id="335" r:id="rId74"/>
    <p:sldId id="342" r:id="rId75"/>
    <p:sldId id="341" r:id="rId76"/>
    <p:sldId id="345" r:id="rId77"/>
    <p:sldId id="331" r:id="rId78"/>
    <p:sldId id="338" r:id="rId79"/>
    <p:sldId id="387" r:id="rId80"/>
    <p:sldId id="343" r:id="rId81"/>
    <p:sldId id="336" r:id="rId82"/>
    <p:sldId id="340" r:id="rId83"/>
    <p:sldId id="346" r:id="rId84"/>
    <p:sldId id="411" r:id="rId85"/>
    <p:sldId id="348" r:id="rId86"/>
    <p:sldId id="412" r:id="rId87"/>
    <p:sldId id="388" r:id="rId88"/>
    <p:sldId id="389" r:id="rId89"/>
    <p:sldId id="390" r:id="rId90"/>
    <p:sldId id="329" r:id="rId91"/>
    <p:sldId id="398" r:id="rId92"/>
    <p:sldId id="309" r:id="rId93"/>
    <p:sldId id="311" r:id="rId94"/>
    <p:sldId id="360" r:id="rId95"/>
    <p:sldId id="330" r:id="rId96"/>
    <p:sldId id="361" r:id="rId97"/>
    <p:sldId id="313" r:id="rId98"/>
    <p:sldId id="312" r:id="rId99"/>
    <p:sldId id="413" r:id="rId100"/>
    <p:sldId id="399" r:id="rId101"/>
    <p:sldId id="353" r:id="rId102"/>
    <p:sldId id="359" r:id="rId103"/>
    <p:sldId id="354" r:id="rId104"/>
    <p:sldId id="355" r:id="rId105"/>
    <p:sldId id="356" r:id="rId106"/>
    <p:sldId id="358" r:id="rId107"/>
  </p:sldIdLst>
  <p:sldSz cx="12192000" cy="6858000"/>
  <p:notesSz cx="6797675" cy="9928225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formationen" id="{929C316A-A94D-41AA-A9F2-9EDBDCEC2FF7}">
          <p14:sldIdLst>
            <p14:sldId id="410"/>
            <p14:sldId id="418"/>
          </p14:sldIdLst>
        </p14:section>
        <p14:section name="Icons und Logos" id="{0339047E-C97D-4444-AC99-7F9412432AC5}">
          <p14:sldIdLst>
            <p14:sldId id="301"/>
            <p14:sldId id="409"/>
            <p14:sldId id="407"/>
            <p14:sldId id="408"/>
            <p14:sldId id="405"/>
            <p14:sldId id="402"/>
            <p14:sldId id="404"/>
            <p14:sldId id="415"/>
            <p14:sldId id="414"/>
            <p14:sldId id="416"/>
            <p14:sldId id="417"/>
          </p14:sldIdLst>
        </p14:section>
        <p14:section name="Titelvarianten" id="{B80F152A-70C7-4595-BE8D-DDA3721BB9BA}">
          <p14:sldIdLst>
            <p14:sldId id="400"/>
            <p14:sldId id="300"/>
            <p14:sldId id="323"/>
            <p14:sldId id="324"/>
            <p14:sldId id="325"/>
            <p14:sldId id="326"/>
            <p14:sldId id="327"/>
            <p14:sldId id="328"/>
          </p14:sldIdLst>
        </p14:section>
        <p14:section name="Kapiteltrenner" id="{216E3A3D-BC09-4DEC-A91A-F776EC26B506}">
          <p14:sldIdLst>
            <p14:sldId id="394"/>
            <p14:sldId id="349"/>
            <p14:sldId id="392"/>
          </p14:sldIdLst>
        </p14:section>
        <p14:section name="Text" id="{05D54016-FD12-4DC2-A678-176527FC41DF}">
          <p14:sldIdLst>
            <p14:sldId id="395"/>
            <p14:sldId id="363"/>
            <p14:sldId id="368"/>
            <p14:sldId id="367"/>
            <p14:sldId id="366"/>
            <p14:sldId id="344"/>
            <p14:sldId id="322"/>
            <p14:sldId id="364"/>
            <p14:sldId id="365"/>
          </p14:sldIdLst>
        </p14:section>
        <p14:section name="Zitate" id="{AB3435D3-550C-476C-94CC-F95A2FA4DC02}">
          <p14:sldIdLst>
            <p14:sldId id="396"/>
            <p14:sldId id="315"/>
            <p14:sldId id="347"/>
            <p14:sldId id="316"/>
            <p14:sldId id="393"/>
            <p14:sldId id="362"/>
          </p14:sldIdLst>
        </p14:section>
        <p14:section name="Grafiken" id="{9EB83213-A0A1-4EDC-A618-BC0E9A384B8C}">
          <p14:sldIdLst>
            <p14:sldId id="397"/>
            <p14:sldId id="369"/>
            <p14:sldId id="370"/>
            <p14:sldId id="371"/>
            <p14:sldId id="372"/>
            <p14:sldId id="373"/>
            <p14:sldId id="374"/>
            <p14:sldId id="375"/>
            <p14:sldId id="377"/>
            <p14:sldId id="378"/>
            <p14:sldId id="379"/>
            <p14:sldId id="380"/>
            <p14:sldId id="381"/>
            <p14:sldId id="382"/>
            <p14:sldId id="383"/>
            <p14:sldId id="384"/>
            <p14:sldId id="351"/>
            <p14:sldId id="385"/>
            <p14:sldId id="386"/>
            <p14:sldId id="308"/>
            <p14:sldId id="318"/>
            <p14:sldId id="319"/>
            <p14:sldId id="317"/>
            <p14:sldId id="320"/>
            <p14:sldId id="339"/>
            <p14:sldId id="334"/>
            <p14:sldId id="337"/>
            <p14:sldId id="350"/>
            <p14:sldId id="391"/>
            <p14:sldId id="335"/>
            <p14:sldId id="342"/>
            <p14:sldId id="341"/>
            <p14:sldId id="345"/>
            <p14:sldId id="331"/>
            <p14:sldId id="338"/>
            <p14:sldId id="387"/>
            <p14:sldId id="343"/>
            <p14:sldId id="336"/>
            <p14:sldId id="340"/>
            <p14:sldId id="346"/>
            <p14:sldId id="411"/>
            <p14:sldId id="348"/>
            <p14:sldId id="412"/>
            <p14:sldId id="388"/>
            <p14:sldId id="389"/>
            <p14:sldId id="390"/>
            <p14:sldId id="329"/>
          </p14:sldIdLst>
        </p14:section>
        <p14:section name="Screenshots einfügen" id="{6CA1312D-7F1F-4621-82F5-C7A907FD68AE}">
          <p14:sldIdLst>
            <p14:sldId id="398"/>
            <p14:sldId id="309"/>
            <p14:sldId id="311"/>
            <p14:sldId id="360"/>
            <p14:sldId id="330"/>
            <p14:sldId id="361"/>
            <p14:sldId id="313"/>
            <p14:sldId id="312"/>
            <p14:sldId id="413"/>
          </p14:sldIdLst>
        </p14:section>
        <p14:section name="Störer" id="{98FF5F10-7F4C-4952-8A91-BACB789DAAC6}">
          <p14:sldIdLst>
            <p14:sldId id="399"/>
            <p14:sldId id="353"/>
            <p14:sldId id="359"/>
            <p14:sldId id="354"/>
            <p14:sldId id="355"/>
            <p14:sldId id="356"/>
            <p14:sldId id="3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anz Przechowski" initials="F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0967"/>
    <a:srgbClr val="1826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0" autoAdjust="0"/>
    <p:restoredTop sz="96305" autoAdjust="0"/>
  </p:normalViewPr>
  <p:slideViewPr>
    <p:cSldViewPr>
      <p:cViewPr varScale="1">
        <p:scale>
          <a:sx n="52" d="100"/>
          <a:sy n="52" d="100"/>
        </p:scale>
        <p:origin x="90" y="1308"/>
      </p:cViewPr>
      <p:guideLst/>
    </p:cSldViewPr>
  </p:slideViewPr>
  <p:outlineViewPr>
    <p:cViewPr>
      <p:scale>
        <a:sx n="33" d="100"/>
        <a:sy n="33" d="100"/>
      </p:scale>
      <p:origin x="0" y="-63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slide" Target="slides/slide82.xml"/><Relationship Id="rId102" Type="http://schemas.openxmlformats.org/officeDocument/2006/relationships/slide" Target="slides/slide97.xml"/><Relationship Id="rId11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113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103" Type="http://schemas.openxmlformats.org/officeDocument/2006/relationships/slide" Target="slides/slide98.xml"/><Relationship Id="rId10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1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14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handoutMaster" Target="handoutMasters/handoutMaster1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0819904"/>
        <c:axId val="470820296"/>
      </c:barChart>
      <c:catAx>
        <c:axId val="47081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0820296"/>
        <c:crosses val="autoZero"/>
        <c:auto val="1"/>
        <c:lblAlgn val="ctr"/>
        <c:lblOffset val="100"/>
        <c:noMultiLvlLbl val="0"/>
      </c:catAx>
      <c:valAx>
        <c:axId val="470820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081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6564096"/>
        <c:axId val="176563704"/>
      </c:lineChart>
      <c:catAx>
        <c:axId val="17656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6563704"/>
        <c:crosses val="autoZero"/>
        <c:auto val="1"/>
        <c:lblAlgn val="ctr"/>
        <c:lblOffset val="100"/>
        <c:noMultiLvlLbl val="0"/>
      </c:catAx>
      <c:valAx>
        <c:axId val="176563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656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</c:dPt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378A94-1F38-484B-B16C-E586BE50F020}" type="doc">
      <dgm:prSet loTypeId="urn:microsoft.com/office/officeart/2005/8/layout/h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47F944C-F2DD-4C30-8A9A-5128F26715CC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b="1" dirty="0" smtClean="0"/>
            <a:t>Text</a:t>
          </a:r>
          <a:endParaRPr lang="de-DE" sz="1500" b="1" dirty="0"/>
        </a:p>
      </dgm:t>
    </dgm:pt>
    <dgm:pt modelId="{4A2795C9-0499-457D-A990-DEF7E4C623D7}" type="parTrans" cxnId="{5748056D-FE67-458C-A142-950392BDAC1B}">
      <dgm:prSet/>
      <dgm:spPr/>
      <dgm:t>
        <a:bodyPr/>
        <a:lstStyle/>
        <a:p>
          <a:pPr algn="l"/>
          <a:endParaRPr lang="de-DE" sz="1500"/>
        </a:p>
      </dgm:t>
    </dgm:pt>
    <dgm:pt modelId="{33891B11-153D-466B-A8A7-002528DF7780}" type="sibTrans" cxnId="{5748056D-FE67-458C-A142-950392BDAC1B}">
      <dgm:prSet/>
      <dgm:spPr/>
      <dgm:t>
        <a:bodyPr/>
        <a:lstStyle/>
        <a:p>
          <a:pPr algn="l"/>
          <a:endParaRPr lang="de-DE" sz="1500"/>
        </a:p>
      </dgm:t>
    </dgm:pt>
    <dgm:pt modelId="{A31D6510-34D2-4C1C-8420-E7ADEDC49F5D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b="1" dirty="0" smtClean="0"/>
            <a:t>Text</a:t>
          </a:r>
          <a:endParaRPr lang="de-DE" sz="1500" b="1" dirty="0"/>
        </a:p>
      </dgm:t>
    </dgm:pt>
    <dgm:pt modelId="{3DF10AB9-0494-4163-A49B-A3379C6425ED}" type="parTrans" cxnId="{05F68170-AFE0-4FB1-972F-FD26CA9B559B}">
      <dgm:prSet/>
      <dgm:spPr/>
      <dgm:t>
        <a:bodyPr/>
        <a:lstStyle/>
        <a:p>
          <a:pPr algn="l"/>
          <a:endParaRPr lang="de-DE" sz="1500"/>
        </a:p>
      </dgm:t>
    </dgm:pt>
    <dgm:pt modelId="{9449BB3B-AD2D-4958-87F1-907EBAAF15C1}" type="sibTrans" cxnId="{05F68170-AFE0-4FB1-972F-FD26CA9B559B}">
      <dgm:prSet/>
      <dgm:spPr/>
      <dgm:t>
        <a:bodyPr/>
        <a:lstStyle/>
        <a:p>
          <a:pPr algn="l"/>
          <a:endParaRPr lang="de-DE" sz="1500"/>
        </a:p>
      </dgm:t>
    </dgm:pt>
    <dgm:pt modelId="{A75F7A51-0ADC-438A-BB6D-61E677D1C5A8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b="1" dirty="0" smtClean="0"/>
            <a:t>Text</a:t>
          </a:r>
          <a:endParaRPr lang="de-DE" sz="1500" b="1" dirty="0"/>
        </a:p>
      </dgm:t>
    </dgm:pt>
    <dgm:pt modelId="{A0037CAA-CB54-4B58-9476-86E9E21C4429}" type="parTrans" cxnId="{42AFDE0D-E4C3-4942-B361-E447EF78AEA8}">
      <dgm:prSet/>
      <dgm:spPr/>
      <dgm:t>
        <a:bodyPr/>
        <a:lstStyle/>
        <a:p>
          <a:pPr algn="l"/>
          <a:endParaRPr lang="de-DE" sz="1500"/>
        </a:p>
      </dgm:t>
    </dgm:pt>
    <dgm:pt modelId="{F800B681-AEBD-40C7-8D3F-AAA419113757}" type="sibTrans" cxnId="{42AFDE0D-E4C3-4942-B361-E447EF78AEA8}">
      <dgm:prSet/>
      <dgm:spPr/>
      <dgm:t>
        <a:bodyPr/>
        <a:lstStyle/>
        <a:p>
          <a:pPr algn="l"/>
          <a:endParaRPr lang="de-DE" sz="1500"/>
        </a:p>
      </dgm:t>
    </dgm:pt>
    <dgm:pt modelId="{B49AE039-2FEA-4BAF-AE5E-6019DD2BDDDA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b="1" dirty="0" smtClean="0"/>
            <a:t>Text</a:t>
          </a:r>
          <a:endParaRPr lang="de-DE" sz="1500" b="1" dirty="0"/>
        </a:p>
      </dgm:t>
    </dgm:pt>
    <dgm:pt modelId="{DA68029C-BE9F-4462-83CD-30967C1B0F1A}" type="parTrans" cxnId="{36CBD9B9-C417-4B95-87F5-7933C25C8B1E}">
      <dgm:prSet/>
      <dgm:spPr/>
      <dgm:t>
        <a:bodyPr/>
        <a:lstStyle/>
        <a:p>
          <a:pPr algn="l"/>
          <a:endParaRPr lang="de-DE" sz="1500"/>
        </a:p>
      </dgm:t>
    </dgm:pt>
    <dgm:pt modelId="{86DDCE55-2323-47CE-BE77-42B23B9903B8}" type="sibTrans" cxnId="{36CBD9B9-C417-4B95-87F5-7933C25C8B1E}">
      <dgm:prSet/>
      <dgm:spPr/>
      <dgm:t>
        <a:bodyPr/>
        <a:lstStyle/>
        <a:p>
          <a:pPr algn="l"/>
          <a:endParaRPr lang="de-DE" sz="1500"/>
        </a:p>
      </dgm:t>
    </dgm:pt>
    <dgm:pt modelId="{7B6F77C3-B845-4DC4-B848-AA63BAD8C089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B2808C5-84E8-4170-A977-0C8F360B2150}" type="parTrans" cxnId="{9AF8C73F-19E7-4704-8320-3D7A2D77D32A}">
      <dgm:prSet/>
      <dgm:spPr/>
      <dgm:t>
        <a:bodyPr/>
        <a:lstStyle/>
        <a:p>
          <a:pPr algn="l"/>
          <a:endParaRPr lang="de-DE" sz="1500"/>
        </a:p>
      </dgm:t>
    </dgm:pt>
    <dgm:pt modelId="{2E61C6B2-C84B-4AFA-9F03-F6389BACEEDE}" type="sibTrans" cxnId="{9AF8C73F-19E7-4704-8320-3D7A2D77D32A}">
      <dgm:prSet/>
      <dgm:spPr/>
      <dgm:t>
        <a:bodyPr/>
        <a:lstStyle/>
        <a:p>
          <a:pPr algn="l"/>
          <a:endParaRPr lang="de-DE" sz="1500"/>
        </a:p>
      </dgm:t>
    </dgm:pt>
    <dgm:pt modelId="{37133254-3244-4FFD-8F29-171C0366F608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61AA30A7-B661-49F4-A8BD-06A3BB468E34}" type="parTrans" cxnId="{737C09A6-CB39-4C2D-AB2A-1D25E253E29A}">
      <dgm:prSet/>
      <dgm:spPr/>
      <dgm:t>
        <a:bodyPr/>
        <a:lstStyle/>
        <a:p>
          <a:pPr algn="l"/>
          <a:endParaRPr lang="de-DE" sz="1500"/>
        </a:p>
      </dgm:t>
    </dgm:pt>
    <dgm:pt modelId="{9D328A0D-B8F0-4DCE-9F46-1A2B168C98C7}" type="sibTrans" cxnId="{737C09A6-CB39-4C2D-AB2A-1D25E253E29A}">
      <dgm:prSet/>
      <dgm:spPr/>
      <dgm:t>
        <a:bodyPr/>
        <a:lstStyle/>
        <a:p>
          <a:pPr algn="l"/>
          <a:endParaRPr lang="de-DE" sz="1500"/>
        </a:p>
      </dgm:t>
    </dgm:pt>
    <dgm:pt modelId="{F2A32DEA-DFB6-4295-86E1-9BF86CE26755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8725CA8C-6643-4467-90BD-B6C358DA7926}" type="parTrans" cxnId="{427E97DD-411F-45D7-B44E-17AE8DA3C797}">
      <dgm:prSet/>
      <dgm:spPr/>
      <dgm:t>
        <a:bodyPr/>
        <a:lstStyle/>
        <a:p>
          <a:pPr algn="l"/>
          <a:endParaRPr lang="de-DE" sz="1500"/>
        </a:p>
      </dgm:t>
    </dgm:pt>
    <dgm:pt modelId="{40E9EF70-031E-4330-A52B-1AB87C3E15A6}" type="sibTrans" cxnId="{427E97DD-411F-45D7-B44E-17AE8DA3C797}">
      <dgm:prSet/>
      <dgm:spPr/>
      <dgm:t>
        <a:bodyPr/>
        <a:lstStyle/>
        <a:p>
          <a:pPr algn="l"/>
          <a:endParaRPr lang="de-DE" sz="1500"/>
        </a:p>
      </dgm:t>
    </dgm:pt>
    <dgm:pt modelId="{BC978561-7565-4B49-B139-B07414CC5EA2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6A5907C-7A4F-43E7-8A81-7B7BEF6A0372}" type="parTrans" cxnId="{0234E845-7D3F-481E-A4E2-5F3ACFB073B2}">
      <dgm:prSet/>
      <dgm:spPr/>
      <dgm:t>
        <a:bodyPr/>
        <a:lstStyle/>
        <a:p>
          <a:pPr algn="l"/>
          <a:endParaRPr lang="de-DE" sz="1500"/>
        </a:p>
      </dgm:t>
    </dgm:pt>
    <dgm:pt modelId="{2CA4E538-7572-48BB-8F56-C2E8FDDA292C}" type="sibTrans" cxnId="{0234E845-7D3F-481E-A4E2-5F3ACFB073B2}">
      <dgm:prSet/>
      <dgm:spPr/>
      <dgm:t>
        <a:bodyPr/>
        <a:lstStyle/>
        <a:p>
          <a:pPr algn="l"/>
          <a:endParaRPr lang="de-DE" sz="1500"/>
        </a:p>
      </dgm:t>
    </dgm:pt>
    <dgm:pt modelId="{A08C16BF-0239-42EE-ABAD-C5F0CFE110D1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E95C4C97-2E71-4640-A951-90E980293D03}" type="parTrans" cxnId="{66E1B78D-81A8-4EE7-99C9-A8E6934CC16F}">
      <dgm:prSet/>
      <dgm:spPr/>
      <dgm:t>
        <a:bodyPr/>
        <a:lstStyle/>
        <a:p>
          <a:pPr algn="l"/>
          <a:endParaRPr lang="de-DE" sz="1500"/>
        </a:p>
      </dgm:t>
    </dgm:pt>
    <dgm:pt modelId="{D427665E-E2BB-4781-B755-E46FA10AD235}" type="sibTrans" cxnId="{66E1B78D-81A8-4EE7-99C9-A8E6934CC16F}">
      <dgm:prSet/>
      <dgm:spPr/>
      <dgm:t>
        <a:bodyPr/>
        <a:lstStyle/>
        <a:p>
          <a:pPr algn="l"/>
          <a:endParaRPr lang="de-DE" sz="1500"/>
        </a:p>
      </dgm:t>
    </dgm:pt>
    <dgm:pt modelId="{BD87B6E8-0536-4BF5-8185-D254DBF94377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1D5E9AF0-6630-4188-BC86-7F7BAF6D4AF4}" type="parTrans" cxnId="{9F7DA6A7-0669-4F26-B72B-44A0B8C54669}">
      <dgm:prSet/>
      <dgm:spPr/>
      <dgm:t>
        <a:bodyPr/>
        <a:lstStyle/>
        <a:p>
          <a:pPr algn="l"/>
          <a:endParaRPr lang="de-DE" sz="1500"/>
        </a:p>
      </dgm:t>
    </dgm:pt>
    <dgm:pt modelId="{1D432DA3-04BC-4908-8086-320E1A8FD6C1}" type="sibTrans" cxnId="{9F7DA6A7-0669-4F26-B72B-44A0B8C54669}">
      <dgm:prSet/>
      <dgm:spPr/>
      <dgm:t>
        <a:bodyPr/>
        <a:lstStyle/>
        <a:p>
          <a:pPr algn="l"/>
          <a:endParaRPr lang="de-DE" sz="1500"/>
        </a:p>
      </dgm:t>
    </dgm:pt>
    <dgm:pt modelId="{5EAB028D-5976-4EDC-BE60-FE0A2BCAF1C1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E89525F7-4355-45C5-9548-02366C439FC0}" type="parTrans" cxnId="{2FF5162E-F123-4564-8219-F8D94C7C4755}">
      <dgm:prSet/>
      <dgm:spPr/>
      <dgm:t>
        <a:bodyPr/>
        <a:lstStyle/>
        <a:p>
          <a:pPr algn="l"/>
          <a:endParaRPr lang="de-DE" sz="1500"/>
        </a:p>
      </dgm:t>
    </dgm:pt>
    <dgm:pt modelId="{445815D0-35F7-42E5-A0C9-9B7F930BD8BB}" type="sibTrans" cxnId="{2FF5162E-F123-4564-8219-F8D94C7C4755}">
      <dgm:prSet/>
      <dgm:spPr/>
      <dgm:t>
        <a:bodyPr/>
        <a:lstStyle/>
        <a:p>
          <a:pPr algn="l"/>
          <a:endParaRPr lang="de-DE" sz="1500"/>
        </a:p>
      </dgm:t>
    </dgm:pt>
    <dgm:pt modelId="{844A99B3-25DE-4323-8BF0-3F9D35A87557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79C2CE3-9D50-4B06-9F1D-AA3A9A4019BB}" type="parTrans" cxnId="{E66FA5E4-BC03-4281-852B-0A54155192B2}">
      <dgm:prSet/>
      <dgm:spPr/>
      <dgm:t>
        <a:bodyPr/>
        <a:lstStyle/>
        <a:p>
          <a:pPr algn="l"/>
          <a:endParaRPr lang="de-DE" sz="1500"/>
        </a:p>
      </dgm:t>
    </dgm:pt>
    <dgm:pt modelId="{BFECDDCF-5FBB-46C0-A0F0-D469F5622F17}" type="sibTrans" cxnId="{E66FA5E4-BC03-4281-852B-0A54155192B2}">
      <dgm:prSet/>
      <dgm:spPr/>
      <dgm:t>
        <a:bodyPr/>
        <a:lstStyle/>
        <a:p>
          <a:pPr algn="l"/>
          <a:endParaRPr lang="de-DE" sz="1500"/>
        </a:p>
      </dgm:t>
    </dgm:pt>
    <dgm:pt modelId="{B856BCE5-4360-4F82-8A0C-A4F73AAAEE92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370C9BF-910D-4B0F-9675-C6D24BF01B4D}" type="parTrans" cxnId="{26FB8C35-19C2-4D94-AA0A-D71F0D3AC027}">
      <dgm:prSet/>
      <dgm:spPr/>
      <dgm:t>
        <a:bodyPr/>
        <a:lstStyle/>
        <a:p>
          <a:pPr algn="l"/>
          <a:endParaRPr lang="de-DE" sz="1500"/>
        </a:p>
      </dgm:t>
    </dgm:pt>
    <dgm:pt modelId="{D8B34011-8007-48C7-B629-B1A07C96EE0D}" type="sibTrans" cxnId="{26FB8C35-19C2-4D94-AA0A-D71F0D3AC027}">
      <dgm:prSet/>
      <dgm:spPr/>
      <dgm:t>
        <a:bodyPr/>
        <a:lstStyle/>
        <a:p>
          <a:pPr algn="l"/>
          <a:endParaRPr lang="de-DE" sz="1500"/>
        </a:p>
      </dgm:t>
    </dgm:pt>
    <dgm:pt modelId="{B6F78B8B-9DBC-4DC9-B94D-3FB38C7B7187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BEAEC98E-6AC7-4213-A272-F5D2AD0A5B56}" type="parTrans" cxnId="{7830CD12-73BC-4606-BB3F-30849D74E0C7}">
      <dgm:prSet/>
      <dgm:spPr/>
      <dgm:t>
        <a:bodyPr/>
        <a:lstStyle/>
        <a:p>
          <a:pPr algn="l"/>
          <a:endParaRPr lang="de-DE" sz="1500"/>
        </a:p>
      </dgm:t>
    </dgm:pt>
    <dgm:pt modelId="{5AD02409-FEB3-4F59-88CA-ECEFE3CFAAD9}" type="sibTrans" cxnId="{7830CD12-73BC-4606-BB3F-30849D74E0C7}">
      <dgm:prSet/>
      <dgm:spPr/>
      <dgm:t>
        <a:bodyPr/>
        <a:lstStyle/>
        <a:p>
          <a:pPr algn="l"/>
          <a:endParaRPr lang="de-DE" sz="1500"/>
        </a:p>
      </dgm:t>
    </dgm:pt>
    <dgm:pt modelId="{697F0D95-4C9C-45CD-95ED-244240D91A4E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2438F09-30F2-41C4-8C1B-9ABD2F7478BE}" type="parTrans" cxnId="{BFB5D9CB-5557-47CE-A68E-E9B06EB3F135}">
      <dgm:prSet/>
      <dgm:spPr/>
      <dgm:t>
        <a:bodyPr/>
        <a:lstStyle/>
        <a:p>
          <a:pPr algn="l"/>
          <a:endParaRPr lang="de-DE" sz="1500"/>
        </a:p>
      </dgm:t>
    </dgm:pt>
    <dgm:pt modelId="{7DF8F43A-6DE2-49C2-A8DD-8B2003E5D68D}" type="sibTrans" cxnId="{BFB5D9CB-5557-47CE-A68E-E9B06EB3F135}">
      <dgm:prSet/>
      <dgm:spPr/>
      <dgm:t>
        <a:bodyPr/>
        <a:lstStyle/>
        <a:p>
          <a:pPr algn="l"/>
          <a:endParaRPr lang="de-DE" sz="1500"/>
        </a:p>
      </dgm:t>
    </dgm:pt>
    <dgm:pt modelId="{7B1E22B8-3223-43DA-BC03-D9C869A622A8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A55A9F60-8CEA-492F-93CE-F5EB365BC5A9}" type="parTrans" cxnId="{4F69BEDA-B000-42CD-9FDD-51EA76C69064}">
      <dgm:prSet/>
      <dgm:spPr/>
      <dgm:t>
        <a:bodyPr/>
        <a:lstStyle/>
        <a:p>
          <a:pPr algn="l"/>
          <a:endParaRPr lang="de-DE" sz="1500"/>
        </a:p>
      </dgm:t>
    </dgm:pt>
    <dgm:pt modelId="{D123D35E-8C05-43CE-96F7-53D41302C59D}" type="sibTrans" cxnId="{4F69BEDA-B000-42CD-9FDD-51EA76C69064}">
      <dgm:prSet/>
      <dgm:spPr/>
      <dgm:t>
        <a:bodyPr/>
        <a:lstStyle/>
        <a:p>
          <a:pPr algn="l"/>
          <a:endParaRPr lang="de-DE" sz="1500"/>
        </a:p>
      </dgm:t>
    </dgm:pt>
    <dgm:pt modelId="{45E92423-1BF3-4362-8B1A-7DD69735D1E0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9F34367F-C5CB-412A-9E73-6A535DFBEE00}" type="parTrans" cxnId="{239896FE-9B3E-47A9-BE7A-13FEFCA06BDF}">
      <dgm:prSet/>
      <dgm:spPr/>
      <dgm:t>
        <a:bodyPr/>
        <a:lstStyle/>
        <a:p>
          <a:pPr algn="l"/>
          <a:endParaRPr lang="de-DE" sz="1500"/>
        </a:p>
      </dgm:t>
    </dgm:pt>
    <dgm:pt modelId="{44D343DE-B7F7-413C-834A-47F46E967720}" type="sibTrans" cxnId="{239896FE-9B3E-47A9-BE7A-13FEFCA06BDF}">
      <dgm:prSet/>
      <dgm:spPr/>
      <dgm:t>
        <a:bodyPr/>
        <a:lstStyle/>
        <a:p>
          <a:pPr algn="l"/>
          <a:endParaRPr lang="de-DE" sz="1500"/>
        </a:p>
      </dgm:t>
    </dgm:pt>
    <dgm:pt modelId="{F9BA2210-DA70-4CDF-BF4D-C609683817CC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0F42D439-7DD7-421C-8722-21A703F455E9}" type="parTrans" cxnId="{04DDB76A-2557-4B64-8229-FACA373EF724}">
      <dgm:prSet/>
      <dgm:spPr/>
      <dgm:t>
        <a:bodyPr/>
        <a:lstStyle/>
        <a:p>
          <a:pPr algn="l"/>
          <a:endParaRPr lang="de-DE" sz="1500"/>
        </a:p>
      </dgm:t>
    </dgm:pt>
    <dgm:pt modelId="{A3FC15FB-33EB-4B77-8D6E-6A875D1C5598}" type="sibTrans" cxnId="{04DDB76A-2557-4B64-8229-FACA373EF724}">
      <dgm:prSet/>
      <dgm:spPr/>
      <dgm:t>
        <a:bodyPr/>
        <a:lstStyle/>
        <a:p>
          <a:pPr algn="l"/>
          <a:endParaRPr lang="de-DE" sz="1500"/>
        </a:p>
      </dgm:t>
    </dgm:pt>
    <dgm:pt modelId="{0423CB60-B8DC-482B-981F-DA30F50E1643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711E76B1-790A-4186-8CB6-CA9F9540B157}" type="parTrans" cxnId="{01C14B8C-5FAA-4A4A-B0F1-47D103D1BD69}">
      <dgm:prSet/>
      <dgm:spPr/>
      <dgm:t>
        <a:bodyPr/>
        <a:lstStyle/>
        <a:p>
          <a:pPr algn="l"/>
          <a:endParaRPr lang="de-DE" sz="1500"/>
        </a:p>
      </dgm:t>
    </dgm:pt>
    <dgm:pt modelId="{118C9A29-4733-4179-8243-FD5EB65345C1}" type="sibTrans" cxnId="{01C14B8C-5FAA-4A4A-B0F1-47D103D1BD69}">
      <dgm:prSet/>
      <dgm:spPr/>
      <dgm:t>
        <a:bodyPr/>
        <a:lstStyle/>
        <a:p>
          <a:pPr algn="l"/>
          <a:endParaRPr lang="de-DE" sz="1500"/>
        </a:p>
      </dgm:t>
    </dgm:pt>
    <dgm:pt modelId="{9E17C939-2B5C-4225-A3B4-9E5C1C407F25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862C00A7-13BD-4E75-A744-3E4427EF17F7}" type="parTrans" cxnId="{A22228A7-F117-42AB-AF23-A4006C31F329}">
      <dgm:prSet/>
      <dgm:spPr/>
      <dgm:t>
        <a:bodyPr/>
        <a:lstStyle/>
        <a:p>
          <a:pPr algn="l"/>
          <a:endParaRPr lang="de-DE" sz="1500"/>
        </a:p>
      </dgm:t>
    </dgm:pt>
    <dgm:pt modelId="{A7BF7739-C043-457A-925D-4638000B774D}" type="sibTrans" cxnId="{A22228A7-F117-42AB-AF23-A4006C31F329}">
      <dgm:prSet/>
      <dgm:spPr/>
      <dgm:t>
        <a:bodyPr/>
        <a:lstStyle/>
        <a:p>
          <a:pPr algn="l"/>
          <a:endParaRPr lang="de-DE" sz="1500"/>
        </a:p>
      </dgm:t>
    </dgm:pt>
    <dgm:pt modelId="{E9B57911-36F0-4F27-B54D-9CD72764B062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78F2AF7F-6307-4ABE-B53F-46548A373DC8}" type="parTrans" cxnId="{3C058068-85D7-4EFC-8C96-71D38FB92DDE}">
      <dgm:prSet/>
      <dgm:spPr/>
      <dgm:t>
        <a:bodyPr/>
        <a:lstStyle/>
        <a:p>
          <a:pPr algn="l"/>
          <a:endParaRPr lang="de-DE" sz="1500"/>
        </a:p>
      </dgm:t>
    </dgm:pt>
    <dgm:pt modelId="{1489EF8E-B3E3-4DA3-8063-DC51CB52DDE8}" type="sibTrans" cxnId="{3C058068-85D7-4EFC-8C96-71D38FB92DDE}">
      <dgm:prSet/>
      <dgm:spPr/>
      <dgm:t>
        <a:bodyPr/>
        <a:lstStyle/>
        <a:p>
          <a:pPr algn="l"/>
          <a:endParaRPr lang="de-DE" sz="1500"/>
        </a:p>
      </dgm:t>
    </dgm:pt>
    <dgm:pt modelId="{882B64A3-6AF8-4AA0-A7EB-FC0DD4761FE6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631A1DA4-F369-4884-8690-0B6DFDE2206C}" type="parTrans" cxnId="{1E4C710E-668D-4028-ADF6-0EA716CAD025}">
      <dgm:prSet/>
      <dgm:spPr/>
      <dgm:t>
        <a:bodyPr/>
        <a:lstStyle/>
        <a:p>
          <a:pPr algn="l"/>
          <a:endParaRPr lang="de-DE" sz="1500"/>
        </a:p>
      </dgm:t>
    </dgm:pt>
    <dgm:pt modelId="{E283E672-0224-4AF8-B8B6-B6710B947DB0}" type="sibTrans" cxnId="{1E4C710E-668D-4028-ADF6-0EA716CAD025}">
      <dgm:prSet/>
      <dgm:spPr/>
      <dgm:t>
        <a:bodyPr/>
        <a:lstStyle/>
        <a:p>
          <a:pPr algn="l"/>
          <a:endParaRPr lang="de-DE" sz="1500"/>
        </a:p>
      </dgm:t>
    </dgm:pt>
    <dgm:pt modelId="{577E6639-A779-4757-BAC1-7DA29DEE7B8E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1F4134B4-8DB7-47E3-BB12-08A9FA30861F}" type="parTrans" cxnId="{9181D0AA-3FDC-475C-9127-35838FFECB87}">
      <dgm:prSet/>
      <dgm:spPr/>
      <dgm:t>
        <a:bodyPr/>
        <a:lstStyle/>
        <a:p>
          <a:pPr algn="l"/>
          <a:endParaRPr lang="de-DE" sz="1500"/>
        </a:p>
      </dgm:t>
    </dgm:pt>
    <dgm:pt modelId="{BC1C2530-A4A9-4479-86E7-C345F8AFEA19}" type="sibTrans" cxnId="{9181D0AA-3FDC-475C-9127-35838FFECB87}">
      <dgm:prSet/>
      <dgm:spPr/>
      <dgm:t>
        <a:bodyPr/>
        <a:lstStyle/>
        <a:p>
          <a:pPr algn="l"/>
          <a:endParaRPr lang="de-DE" sz="1500"/>
        </a:p>
      </dgm:t>
    </dgm:pt>
    <dgm:pt modelId="{E876C672-B735-4D07-B7CD-900ECD8585E3}">
      <dgm:prSet phldrT="[Text]" custT="1"/>
      <dgm:spPr>
        <a:solidFill>
          <a:schemeClr val="bg1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077223F-83A6-4D35-BDF1-2C72D67C933F}" type="parTrans" cxnId="{2D60111B-F4E3-4B6D-90BD-8B4AEAF4CE80}">
      <dgm:prSet/>
      <dgm:spPr/>
      <dgm:t>
        <a:bodyPr/>
        <a:lstStyle/>
        <a:p>
          <a:pPr algn="l"/>
          <a:endParaRPr lang="de-DE" sz="1500"/>
        </a:p>
      </dgm:t>
    </dgm:pt>
    <dgm:pt modelId="{C017736A-A642-4A23-B415-B45BFCF2156C}" type="sibTrans" cxnId="{2D60111B-F4E3-4B6D-90BD-8B4AEAF4CE80}">
      <dgm:prSet/>
      <dgm:spPr/>
      <dgm:t>
        <a:bodyPr/>
        <a:lstStyle/>
        <a:p>
          <a:pPr algn="l"/>
          <a:endParaRPr lang="de-DE" sz="1500"/>
        </a:p>
      </dgm:t>
    </dgm:pt>
    <dgm:pt modelId="{26070F2C-6F7F-4D0B-B4F6-E10779175CA4}" type="pres">
      <dgm:prSet presAssocID="{16378A94-1F38-484B-B16C-E586BE50F0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9BAB186-00F0-474F-9312-84F8A01084EC}" type="pres">
      <dgm:prSet presAssocID="{347F944C-F2DD-4C30-8A9A-5128F26715CC}" presName="composite" presStyleCnt="0"/>
      <dgm:spPr/>
    </dgm:pt>
    <dgm:pt modelId="{B3C2DC5E-A244-46A2-B2BC-E3A221DC9AA9}" type="pres">
      <dgm:prSet presAssocID="{347F944C-F2DD-4C30-8A9A-5128F26715CC}" presName="parTx" presStyleLbl="alignNode1" presStyleIdx="0" presStyleCnt="4">
        <dgm:presLayoutVars>
          <dgm:chMax val="0"/>
          <dgm:chPref val="0"/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de-DE"/>
        </a:p>
      </dgm:t>
    </dgm:pt>
    <dgm:pt modelId="{BF5852F9-82D0-45B9-B0EF-564637C00BA0}" type="pres">
      <dgm:prSet presAssocID="{347F944C-F2DD-4C30-8A9A-5128F26715CC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FCC184E-216A-47FF-BD0D-AA6C91AA6357}" type="pres">
      <dgm:prSet presAssocID="{33891B11-153D-466B-A8A7-002528DF7780}" presName="space" presStyleCnt="0"/>
      <dgm:spPr/>
    </dgm:pt>
    <dgm:pt modelId="{50C6F6BB-3C88-41C2-8803-AA0617CB6CF8}" type="pres">
      <dgm:prSet presAssocID="{A31D6510-34D2-4C1C-8420-E7ADEDC49F5D}" presName="composite" presStyleCnt="0"/>
      <dgm:spPr/>
    </dgm:pt>
    <dgm:pt modelId="{2A6F4C5D-4D26-4A56-8B6D-40BCE6B59A1E}" type="pres">
      <dgm:prSet presAssocID="{A31D6510-34D2-4C1C-8420-E7ADEDC49F5D}" presName="parTx" presStyleLbl="alignNode1" presStyleIdx="1" presStyleCnt="4">
        <dgm:presLayoutVars>
          <dgm:chMax val="0"/>
          <dgm:chPref val="0"/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de-DE"/>
        </a:p>
      </dgm:t>
    </dgm:pt>
    <dgm:pt modelId="{7A4AE2A0-99B1-4BEB-9612-D83C797BED57}" type="pres">
      <dgm:prSet presAssocID="{A31D6510-34D2-4C1C-8420-E7ADEDC49F5D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1548963-D7CC-46F7-AA43-AF850EED3A31}" type="pres">
      <dgm:prSet presAssocID="{9449BB3B-AD2D-4958-87F1-907EBAAF15C1}" presName="space" presStyleCnt="0"/>
      <dgm:spPr/>
    </dgm:pt>
    <dgm:pt modelId="{8BDF48EC-7E1B-4239-8845-592455FF4774}" type="pres">
      <dgm:prSet presAssocID="{A75F7A51-0ADC-438A-BB6D-61E677D1C5A8}" presName="composite" presStyleCnt="0"/>
      <dgm:spPr/>
    </dgm:pt>
    <dgm:pt modelId="{F6B1D3C8-C8A0-4441-9E31-BE464389B62D}" type="pres">
      <dgm:prSet presAssocID="{A75F7A51-0ADC-438A-BB6D-61E677D1C5A8}" presName="parTx" presStyleLbl="alignNode1" presStyleIdx="2" presStyleCnt="4">
        <dgm:presLayoutVars>
          <dgm:chMax val="0"/>
          <dgm:chPref val="0"/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de-DE"/>
        </a:p>
      </dgm:t>
    </dgm:pt>
    <dgm:pt modelId="{D2F06612-FE5C-42BD-BC7F-A46A9F480216}" type="pres">
      <dgm:prSet presAssocID="{A75F7A51-0ADC-438A-BB6D-61E677D1C5A8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F74940D-FA29-47B7-AE99-1631A94AC823}" type="pres">
      <dgm:prSet presAssocID="{F800B681-AEBD-40C7-8D3F-AAA419113757}" presName="space" presStyleCnt="0"/>
      <dgm:spPr/>
    </dgm:pt>
    <dgm:pt modelId="{50F76B4C-C8DD-4B62-8616-49AE854A466C}" type="pres">
      <dgm:prSet presAssocID="{B49AE039-2FEA-4BAF-AE5E-6019DD2BDDDA}" presName="composite" presStyleCnt="0"/>
      <dgm:spPr/>
    </dgm:pt>
    <dgm:pt modelId="{5B279791-A258-4CFB-951A-BF02B66FD081}" type="pres">
      <dgm:prSet presAssocID="{B49AE039-2FEA-4BAF-AE5E-6019DD2BDDDA}" presName="parTx" presStyleLbl="alignNode1" presStyleIdx="3" presStyleCnt="4">
        <dgm:presLayoutVars>
          <dgm:chMax val="0"/>
          <dgm:chPref val="0"/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de-DE"/>
        </a:p>
      </dgm:t>
    </dgm:pt>
    <dgm:pt modelId="{9EB3152B-9897-4A07-865A-9E5405D3C812}" type="pres">
      <dgm:prSet presAssocID="{B49AE039-2FEA-4BAF-AE5E-6019DD2BDDDA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6F95BAB-9C3D-4A4E-99B8-BD6BFD6E0AA8}" type="presOf" srcId="{BD87B6E8-0536-4BF5-8185-D254DBF94377}" destId="{7A4AE2A0-99B1-4BEB-9612-D83C797BED57}" srcOrd="0" destOrd="2" presId="urn:microsoft.com/office/officeart/2005/8/layout/hList1"/>
    <dgm:cxn modelId="{9F7DA6A7-0669-4F26-B72B-44A0B8C54669}" srcId="{A31D6510-34D2-4C1C-8420-E7ADEDC49F5D}" destId="{BD87B6E8-0536-4BF5-8185-D254DBF94377}" srcOrd="2" destOrd="0" parTransId="{1D5E9AF0-6630-4188-BC86-7F7BAF6D4AF4}" sibTransId="{1D432DA3-04BC-4908-8086-320E1A8FD6C1}"/>
    <dgm:cxn modelId="{8CDC605A-4D01-4DB1-956E-C8ED84B32F1E}" type="presOf" srcId="{B6F78B8B-9DBC-4DC9-B94D-3FB38C7B7187}" destId="{9EB3152B-9897-4A07-865A-9E5405D3C812}" srcOrd="0" destOrd="0" presId="urn:microsoft.com/office/officeart/2005/8/layout/hList1"/>
    <dgm:cxn modelId="{B42E6896-6707-4F48-8EAD-269B1A9F9D66}" type="presOf" srcId="{37133254-3244-4FFD-8F29-171C0366F608}" destId="{BF5852F9-82D0-45B9-B0EF-564637C00BA0}" srcOrd="0" destOrd="1" presId="urn:microsoft.com/office/officeart/2005/8/layout/hList1"/>
    <dgm:cxn modelId="{4F69BEDA-B000-42CD-9FDD-51EA76C69064}" srcId="{B49AE039-2FEA-4BAF-AE5E-6019DD2BDDDA}" destId="{7B1E22B8-3223-43DA-BC03-D9C869A622A8}" srcOrd="2" destOrd="0" parTransId="{A55A9F60-8CEA-492F-93CE-F5EB365BC5A9}" sibTransId="{D123D35E-8C05-43CE-96F7-53D41302C59D}"/>
    <dgm:cxn modelId="{F0441330-9529-4672-8F94-E1615C825D0A}" type="presOf" srcId="{7B6F77C3-B845-4DC4-B848-AA63BAD8C089}" destId="{BF5852F9-82D0-45B9-B0EF-564637C00BA0}" srcOrd="0" destOrd="0" presId="urn:microsoft.com/office/officeart/2005/8/layout/hList1"/>
    <dgm:cxn modelId="{06D177EC-F77D-4B02-BE73-7A758164FAE3}" type="presOf" srcId="{E876C672-B735-4D07-B7CD-900ECD8585E3}" destId="{BF5852F9-82D0-45B9-B0EF-564637C00BA0}" srcOrd="0" destOrd="4" presId="urn:microsoft.com/office/officeart/2005/8/layout/hList1"/>
    <dgm:cxn modelId="{11FCAFBA-E065-49E1-904D-6BD136FC3D8A}" type="presOf" srcId="{E9B57911-36F0-4F27-B54D-9CD72764B062}" destId="{7A4AE2A0-99B1-4BEB-9612-D83C797BED57}" srcOrd="0" destOrd="3" presId="urn:microsoft.com/office/officeart/2005/8/layout/hList1"/>
    <dgm:cxn modelId="{5A444852-730D-47C4-A587-B06C48463284}" type="presOf" srcId="{882B64A3-6AF8-4AA0-A7EB-FC0DD4761FE6}" destId="{7A4AE2A0-99B1-4BEB-9612-D83C797BED57}" srcOrd="0" destOrd="4" presId="urn:microsoft.com/office/officeart/2005/8/layout/hList1"/>
    <dgm:cxn modelId="{26FB8C35-19C2-4D94-AA0A-D71F0D3AC027}" srcId="{A75F7A51-0ADC-438A-BB6D-61E677D1C5A8}" destId="{B856BCE5-4360-4F82-8A0C-A4F73AAAEE92}" srcOrd="2" destOrd="0" parTransId="{D370C9BF-910D-4B0F-9675-C6D24BF01B4D}" sibTransId="{D8B34011-8007-48C7-B629-B1A07C96EE0D}"/>
    <dgm:cxn modelId="{05F68170-AFE0-4FB1-972F-FD26CA9B559B}" srcId="{16378A94-1F38-484B-B16C-E586BE50F020}" destId="{A31D6510-34D2-4C1C-8420-E7ADEDC49F5D}" srcOrd="1" destOrd="0" parTransId="{3DF10AB9-0494-4163-A49B-A3379C6425ED}" sibTransId="{9449BB3B-AD2D-4958-87F1-907EBAAF15C1}"/>
    <dgm:cxn modelId="{3C058068-85D7-4EFC-8C96-71D38FB92DDE}" srcId="{A31D6510-34D2-4C1C-8420-E7ADEDC49F5D}" destId="{E9B57911-36F0-4F27-B54D-9CD72764B062}" srcOrd="3" destOrd="0" parTransId="{78F2AF7F-6307-4ABE-B53F-46548A373DC8}" sibTransId="{1489EF8E-B3E3-4DA3-8063-DC51CB52DDE8}"/>
    <dgm:cxn modelId="{7AE87BE9-D38A-412F-8DCA-DF4B12638106}" type="presOf" srcId="{697F0D95-4C9C-45CD-95ED-244240D91A4E}" destId="{9EB3152B-9897-4A07-865A-9E5405D3C812}" srcOrd="0" destOrd="1" presId="urn:microsoft.com/office/officeart/2005/8/layout/hList1"/>
    <dgm:cxn modelId="{608B8372-D6CB-49E0-871C-C4637249506B}" type="presOf" srcId="{A31D6510-34D2-4C1C-8420-E7ADEDC49F5D}" destId="{2A6F4C5D-4D26-4A56-8B6D-40BCE6B59A1E}" srcOrd="0" destOrd="0" presId="urn:microsoft.com/office/officeart/2005/8/layout/hList1"/>
    <dgm:cxn modelId="{9181D0AA-3FDC-475C-9127-35838FFECB87}" srcId="{347F944C-F2DD-4C30-8A9A-5128F26715CC}" destId="{577E6639-A779-4757-BAC1-7DA29DEE7B8E}" srcOrd="3" destOrd="0" parTransId="{1F4134B4-8DB7-47E3-BB12-08A9FA30861F}" sibTransId="{BC1C2530-A4A9-4479-86E7-C345F8AFEA19}"/>
    <dgm:cxn modelId="{CADE7EB7-F632-4D76-9709-5BAF1738E832}" type="presOf" srcId="{9E17C939-2B5C-4225-A3B4-9E5C1C407F25}" destId="{D2F06612-FE5C-42BD-BC7F-A46A9F480216}" srcOrd="0" destOrd="4" presId="urn:microsoft.com/office/officeart/2005/8/layout/hList1"/>
    <dgm:cxn modelId="{5A9AD206-F17C-48AB-983C-CE65A4F61A23}" type="presOf" srcId="{F9BA2210-DA70-4CDF-BF4D-C609683817CC}" destId="{9EB3152B-9897-4A07-865A-9E5405D3C812}" srcOrd="0" destOrd="4" presId="urn:microsoft.com/office/officeart/2005/8/layout/hList1"/>
    <dgm:cxn modelId="{02C2FF91-3F1F-459D-8C7B-39F57824645D}" type="presOf" srcId="{0423CB60-B8DC-482B-981F-DA30F50E1643}" destId="{D2F06612-FE5C-42BD-BC7F-A46A9F480216}" srcOrd="0" destOrd="3" presId="urn:microsoft.com/office/officeart/2005/8/layout/hList1"/>
    <dgm:cxn modelId="{0234E845-7D3F-481E-A4E2-5F3ACFB073B2}" srcId="{A31D6510-34D2-4C1C-8420-E7ADEDC49F5D}" destId="{BC978561-7565-4B49-B139-B07414CC5EA2}" srcOrd="0" destOrd="0" parTransId="{F6A5907C-7A4F-43E7-8A81-7B7BEF6A0372}" sibTransId="{2CA4E538-7572-48BB-8F56-C2E8FDDA292C}"/>
    <dgm:cxn modelId="{A22228A7-F117-42AB-AF23-A4006C31F329}" srcId="{A75F7A51-0ADC-438A-BB6D-61E677D1C5A8}" destId="{9E17C939-2B5C-4225-A3B4-9E5C1C407F25}" srcOrd="4" destOrd="0" parTransId="{862C00A7-13BD-4E75-A744-3E4427EF17F7}" sibTransId="{A7BF7739-C043-457A-925D-4638000B774D}"/>
    <dgm:cxn modelId="{1E4C710E-668D-4028-ADF6-0EA716CAD025}" srcId="{A31D6510-34D2-4C1C-8420-E7ADEDC49F5D}" destId="{882B64A3-6AF8-4AA0-A7EB-FC0DD4761FE6}" srcOrd="4" destOrd="0" parTransId="{631A1DA4-F369-4884-8690-0B6DFDE2206C}" sibTransId="{E283E672-0224-4AF8-B8B6-B6710B947DB0}"/>
    <dgm:cxn modelId="{01C14B8C-5FAA-4A4A-B0F1-47D103D1BD69}" srcId="{A75F7A51-0ADC-438A-BB6D-61E677D1C5A8}" destId="{0423CB60-B8DC-482B-981F-DA30F50E1643}" srcOrd="3" destOrd="0" parTransId="{711E76B1-790A-4186-8CB6-CA9F9540B157}" sibTransId="{118C9A29-4733-4179-8243-FD5EB65345C1}"/>
    <dgm:cxn modelId="{AFD2141E-A4B8-427C-AB87-27B016CCB2CD}" type="presOf" srcId="{347F944C-F2DD-4C30-8A9A-5128F26715CC}" destId="{B3C2DC5E-A244-46A2-B2BC-E3A221DC9AA9}" srcOrd="0" destOrd="0" presId="urn:microsoft.com/office/officeart/2005/8/layout/hList1"/>
    <dgm:cxn modelId="{6FBEDBD8-5231-47EB-A49F-7F484292665C}" type="presOf" srcId="{A08C16BF-0239-42EE-ABAD-C5F0CFE110D1}" destId="{7A4AE2A0-99B1-4BEB-9612-D83C797BED57}" srcOrd="0" destOrd="1" presId="urn:microsoft.com/office/officeart/2005/8/layout/hList1"/>
    <dgm:cxn modelId="{239896FE-9B3E-47A9-BE7A-13FEFCA06BDF}" srcId="{B49AE039-2FEA-4BAF-AE5E-6019DD2BDDDA}" destId="{45E92423-1BF3-4362-8B1A-7DD69735D1E0}" srcOrd="3" destOrd="0" parTransId="{9F34367F-C5CB-412A-9E73-6A535DFBEE00}" sibTransId="{44D343DE-B7F7-413C-834A-47F46E967720}"/>
    <dgm:cxn modelId="{188CD732-B74F-4980-B716-9815348D64B3}" type="presOf" srcId="{7B1E22B8-3223-43DA-BC03-D9C869A622A8}" destId="{9EB3152B-9897-4A07-865A-9E5405D3C812}" srcOrd="0" destOrd="2" presId="urn:microsoft.com/office/officeart/2005/8/layout/hList1"/>
    <dgm:cxn modelId="{198F7434-B240-44BC-82C8-BE1B930D6EE3}" type="presOf" srcId="{577E6639-A779-4757-BAC1-7DA29DEE7B8E}" destId="{BF5852F9-82D0-45B9-B0EF-564637C00BA0}" srcOrd="0" destOrd="3" presId="urn:microsoft.com/office/officeart/2005/8/layout/hList1"/>
    <dgm:cxn modelId="{7830CD12-73BC-4606-BB3F-30849D74E0C7}" srcId="{B49AE039-2FEA-4BAF-AE5E-6019DD2BDDDA}" destId="{B6F78B8B-9DBC-4DC9-B94D-3FB38C7B7187}" srcOrd="0" destOrd="0" parTransId="{BEAEC98E-6AC7-4213-A272-F5D2AD0A5B56}" sibTransId="{5AD02409-FEB3-4F59-88CA-ECEFE3CFAAD9}"/>
    <dgm:cxn modelId="{1ED52336-B67F-4FC7-93A7-DD86D0A87B32}" type="presOf" srcId="{B856BCE5-4360-4F82-8A0C-A4F73AAAEE92}" destId="{D2F06612-FE5C-42BD-BC7F-A46A9F480216}" srcOrd="0" destOrd="2" presId="urn:microsoft.com/office/officeart/2005/8/layout/hList1"/>
    <dgm:cxn modelId="{2D60111B-F4E3-4B6D-90BD-8B4AEAF4CE80}" srcId="{347F944C-F2DD-4C30-8A9A-5128F26715CC}" destId="{E876C672-B735-4D07-B7CD-900ECD8585E3}" srcOrd="4" destOrd="0" parTransId="{D077223F-83A6-4D35-BDF1-2C72D67C933F}" sibTransId="{C017736A-A642-4A23-B415-B45BFCF2156C}"/>
    <dgm:cxn modelId="{DF5A8928-0ADE-423D-BE27-F69DB6381F82}" type="presOf" srcId="{B49AE039-2FEA-4BAF-AE5E-6019DD2BDDDA}" destId="{5B279791-A258-4CFB-951A-BF02B66FD081}" srcOrd="0" destOrd="0" presId="urn:microsoft.com/office/officeart/2005/8/layout/hList1"/>
    <dgm:cxn modelId="{A53E2DD0-7BFC-4D5E-92FD-0EE1C25754CA}" type="presOf" srcId="{A75F7A51-0ADC-438A-BB6D-61E677D1C5A8}" destId="{F6B1D3C8-C8A0-4441-9E31-BE464389B62D}" srcOrd="0" destOrd="0" presId="urn:microsoft.com/office/officeart/2005/8/layout/hList1"/>
    <dgm:cxn modelId="{D5E1BE04-4801-46D3-9251-F00FFE0535CA}" type="presOf" srcId="{45E92423-1BF3-4362-8B1A-7DD69735D1E0}" destId="{9EB3152B-9897-4A07-865A-9E5405D3C812}" srcOrd="0" destOrd="3" presId="urn:microsoft.com/office/officeart/2005/8/layout/hList1"/>
    <dgm:cxn modelId="{1C4F2283-BC4A-4B79-8FE0-025712526CAC}" type="presOf" srcId="{5EAB028D-5976-4EDC-BE60-FE0A2BCAF1C1}" destId="{D2F06612-FE5C-42BD-BC7F-A46A9F480216}" srcOrd="0" destOrd="0" presId="urn:microsoft.com/office/officeart/2005/8/layout/hList1"/>
    <dgm:cxn modelId="{66E1B78D-81A8-4EE7-99C9-A8E6934CC16F}" srcId="{A31D6510-34D2-4C1C-8420-E7ADEDC49F5D}" destId="{A08C16BF-0239-42EE-ABAD-C5F0CFE110D1}" srcOrd="1" destOrd="0" parTransId="{E95C4C97-2E71-4640-A951-90E980293D03}" sibTransId="{D427665E-E2BB-4781-B755-E46FA10AD235}"/>
    <dgm:cxn modelId="{5748056D-FE67-458C-A142-950392BDAC1B}" srcId="{16378A94-1F38-484B-B16C-E586BE50F020}" destId="{347F944C-F2DD-4C30-8A9A-5128F26715CC}" srcOrd="0" destOrd="0" parTransId="{4A2795C9-0499-457D-A990-DEF7E4C623D7}" sibTransId="{33891B11-153D-466B-A8A7-002528DF7780}"/>
    <dgm:cxn modelId="{9634D544-2125-45F2-A27B-6EA803335114}" type="presOf" srcId="{16378A94-1F38-484B-B16C-E586BE50F020}" destId="{26070F2C-6F7F-4D0B-B4F6-E10779175CA4}" srcOrd="0" destOrd="0" presId="urn:microsoft.com/office/officeart/2005/8/layout/hList1"/>
    <dgm:cxn modelId="{9AF8C73F-19E7-4704-8320-3D7A2D77D32A}" srcId="{347F944C-F2DD-4C30-8A9A-5128F26715CC}" destId="{7B6F77C3-B845-4DC4-B848-AA63BAD8C089}" srcOrd="0" destOrd="0" parTransId="{DB2808C5-84E8-4170-A977-0C8F360B2150}" sibTransId="{2E61C6B2-C84B-4AFA-9F03-F6389BACEEDE}"/>
    <dgm:cxn modelId="{36CBD9B9-C417-4B95-87F5-7933C25C8B1E}" srcId="{16378A94-1F38-484B-B16C-E586BE50F020}" destId="{B49AE039-2FEA-4BAF-AE5E-6019DD2BDDDA}" srcOrd="3" destOrd="0" parTransId="{DA68029C-BE9F-4462-83CD-30967C1B0F1A}" sibTransId="{86DDCE55-2323-47CE-BE77-42B23B9903B8}"/>
    <dgm:cxn modelId="{2FF5162E-F123-4564-8219-F8D94C7C4755}" srcId="{A75F7A51-0ADC-438A-BB6D-61E677D1C5A8}" destId="{5EAB028D-5976-4EDC-BE60-FE0A2BCAF1C1}" srcOrd="0" destOrd="0" parTransId="{E89525F7-4355-45C5-9548-02366C439FC0}" sibTransId="{445815D0-35F7-42E5-A0C9-9B7F930BD8BB}"/>
    <dgm:cxn modelId="{E66FA5E4-BC03-4281-852B-0A54155192B2}" srcId="{A75F7A51-0ADC-438A-BB6D-61E677D1C5A8}" destId="{844A99B3-25DE-4323-8BF0-3F9D35A87557}" srcOrd="1" destOrd="0" parTransId="{F79C2CE3-9D50-4B06-9F1D-AA3A9A4019BB}" sibTransId="{BFECDDCF-5FBB-46C0-A0F0-D469F5622F17}"/>
    <dgm:cxn modelId="{E262D23B-1DE2-4954-974A-28F7517F8048}" type="presOf" srcId="{BC978561-7565-4B49-B139-B07414CC5EA2}" destId="{7A4AE2A0-99B1-4BEB-9612-D83C797BED57}" srcOrd="0" destOrd="0" presId="urn:microsoft.com/office/officeart/2005/8/layout/hList1"/>
    <dgm:cxn modelId="{427E97DD-411F-45D7-B44E-17AE8DA3C797}" srcId="{347F944C-F2DD-4C30-8A9A-5128F26715CC}" destId="{F2A32DEA-DFB6-4295-86E1-9BF86CE26755}" srcOrd="2" destOrd="0" parTransId="{8725CA8C-6643-4467-90BD-B6C358DA7926}" sibTransId="{40E9EF70-031E-4330-A52B-1AB87C3E15A6}"/>
    <dgm:cxn modelId="{2E7C9965-EFA7-450D-9A61-11CC443F6D1F}" type="presOf" srcId="{F2A32DEA-DFB6-4295-86E1-9BF86CE26755}" destId="{BF5852F9-82D0-45B9-B0EF-564637C00BA0}" srcOrd="0" destOrd="2" presId="urn:microsoft.com/office/officeart/2005/8/layout/hList1"/>
    <dgm:cxn modelId="{04DDB76A-2557-4B64-8229-FACA373EF724}" srcId="{B49AE039-2FEA-4BAF-AE5E-6019DD2BDDDA}" destId="{F9BA2210-DA70-4CDF-BF4D-C609683817CC}" srcOrd="4" destOrd="0" parTransId="{0F42D439-7DD7-421C-8722-21A703F455E9}" sibTransId="{A3FC15FB-33EB-4B77-8D6E-6A875D1C5598}"/>
    <dgm:cxn modelId="{42AFDE0D-E4C3-4942-B361-E447EF78AEA8}" srcId="{16378A94-1F38-484B-B16C-E586BE50F020}" destId="{A75F7A51-0ADC-438A-BB6D-61E677D1C5A8}" srcOrd="2" destOrd="0" parTransId="{A0037CAA-CB54-4B58-9476-86E9E21C4429}" sibTransId="{F800B681-AEBD-40C7-8D3F-AAA419113757}"/>
    <dgm:cxn modelId="{BFB5D9CB-5557-47CE-A68E-E9B06EB3F135}" srcId="{B49AE039-2FEA-4BAF-AE5E-6019DD2BDDDA}" destId="{697F0D95-4C9C-45CD-95ED-244240D91A4E}" srcOrd="1" destOrd="0" parTransId="{F2438F09-30F2-41C4-8C1B-9ABD2F7478BE}" sibTransId="{7DF8F43A-6DE2-49C2-A8DD-8B2003E5D68D}"/>
    <dgm:cxn modelId="{589C367F-7668-4381-9701-40A0460D2377}" type="presOf" srcId="{844A99B3-25DE-4323-8BF0-3F9D35A87557}" destId="{D2F06612-FE5C-42BD-BC7F-A46A9F480216}" srcOrd="0" destOrd="1" presId="urn:microsoft.com/office/officeart/2005/8/layout/hList1"/>
    <dgm:cxn modelId="{737C09A6-CB39-4C2D-AB2A-1D25E253E29A}" srcId="{347F944C-F2DD-4C30-8A9A-5128F26715CC}" destId="{37133254-3244-4FFD-8F29-171C0366F608}" srcOrd="1" destOrd="0" parTransId="{61AA30A7-B661-49F4-A8BD-06A3BB468E34}" sibTransId="{9D328A0D-B8F0-4DCE-9F46-1A2B168C98C7}"/>
    <dgm:cxn modelId="{F1C7724C-80DE-4B8E-A5D8-FB515658F0D3}" type="presParOf" srcId="{26070F2C-6F7F-4D0B-B4F6-E10779175CA4}" destId="{39BAB186-00F0-474F-9312-84F8A01084EC}" srcOrd="0" destOrd="0" presId="urn:microsoft.com/office/officeart/2005/8/layout/hList1"/>
    <dgm:cxn modelId="{CDD54EF0-0D13-4015-9EFB-5659D3AEEA28}" type="presParOf" srcId="{39BAB186-00F0-474F-9312-84F8A01084EC}" destId="{B3C2DC5E-A244-46A2-B2BC-E3A221DC9AA9}" srcOrd="0" destOrd="0" presId="urn:microsoft.com/office/officeart/2005/8/layout/hList1"/>
    <dgm:cxn modelId="{FEFFA96B-3A01-433A-B92F-F97791465AC3}" type="presParOf" srcId="{39BAB186-00F0-474F-9312-84F8A01084EC}" destId="{BF5852F9-82D0-45B9-B0EF-564637C00BA0}" srcOrd="1" destOrd="0" presId="urn:microsoft.com/office/officeart/2005/8/layout/hList1"/>
    <dgm:cxn modelId="{56CB0F02-81E0-4A8B-9111-EFCA781544DF}" type="presParOf" srcId="{26070F2C-6F7F-4D0B-B4F6-E10779175CA4}" destId="{DFCC184E-216A-47FF-BD0D-AA6C91AA6357}" srcOrd="1" destOrd="0" presId="urn:microsoft.com/office/officeart/2005/8/layout/hList1"/>
    <dgm:cxn modelId="{C675421D-8E17-4EB8-8ABA-DA3E4D990FCB}" type="presParOf" srcId="{26070F2C-6F7F-4D0B-B4F6-E10779175CA4}" destId="{50C6F6BB-3C88-41C2-8803-AA0617CB6CF8}" srcOrd="2" destOrd="0" presId="urn:microsoft.com/office/officeart/2005/8/layout/hList1"/>
    <dgm:cxn modelId="{2B605BAA-EABD-4761-BF12-98AAC5C94496}" type="presParOf" srcId="{50C6F6BB-3C88-41C2-8803-AA0617CB6CF8}" destId="{2A6F4C5D-4D26-4A56-8B6D-40BCE6B59A1E}" srcOrd="0" destOrd="0" presId="urn:microsoft.com/office/officeart/2005/8/layout/hList1"/>
    <dgm:cxn modelId="{83D91642-7466-4E14-88EC-5EF87CAD9222}" type="presParOf" srcId="{50C6F6BB-3C88-41C2-8803-AA0617CB6CF8}" destId="{7A4AE2A0-99B1-4BEB-9612-D83C797BED57}" srcOrd="1" destOrd="0" presId="urn:microsoft.com/office/officeart/2005/8/layout/hList1"/>
    <dgm:cxn modelId="{8FC9860E-4ACF-41E4-A565-0806DFEAFF23}" type="presParOf" srcId="{26070F2C-6F7F-4D0B-B4F6-E10779175CA4}" destId="{61548963-D7CC-46F7-AA43-AF850EED3A31}" srcOrd="3" destOrd="0" presId="urn:microsoft.com/office/officeart/2005/8/layout/hList1"/>
    <dgm:cxn modelId="{84CCC5A5-3541-41A5-984E-0B81C30D6E55}" type="presParOf" srcId="{26070F2C-6F7F-4D0B-B4F6-E10779175CA4}" destId="{8BDF48EC-7E1B-4239-8845-592455FF4774}" srcOrd="4" destOrd="0" presId="urn:microsoft.com/office/officeart/2005/8/layout/hList1"/>
    <dgm:cxn modelId="{FD3B527F-5F07-4086-9409-B3ABA6FAF2B6}" type="presParOf" srcId="{8BDF48EC-7E1B-4239-8845-592455FF4774}" destId="{F6B1D3C8-C8A0-4441-9E31-BE464389B62D}" srcOrd="0" destOrd="0" presId="urn:microsoft.com/office/officeart/2005/8/layout/hList1"/>
    <dgm:cxn modelId="{89CD5E10-5530-421F-89DA-4B6CA7DC5684}" type="presParOf" srcId="{8BDF48EC-7E1B-4239-8845-592455FF4774}" destId="{D2F06612-FE5C-42BD-BC7F-A46A9F480216}" srcOrd="1" destOrd="0" presId="urn:microsoft.com/office/officeart/2005/8/layout/hList1"/>
    <dgm:cxn modelId="{52E23351-8535-4073-A55C-D29F003B26EC}" type="presParOf" srcId="{26070F2C-6F7F-4D0B-B4F6-E10779175CA4}" destId="{4F74940D-FA29-47B7-AE99-1631A94AC823}" srcOrd="5" destOrd="0" presId="urn:microsoft.com/office/officeart/2005/8/layout/hList1"/>
    <dgm:cxn modelId="{FCD345B1-C3CD-4C3F-9A06-48712A62C1A7}" type="presParOf" srcId="{26070F2C-6F7F-4D0B-B4F6-E10779175CA4}" destId="{50F76B4C-C8DD-4B62-8616-49AE854A466C}" srcOrd="6" destOrd="0" presId="urn:microsoft.com/office/officeart/2005/8/layout/hList1"/>
    <dgm:cxn modelId="{88938865-25D2-47E2-A6EA-F75E278FCF42}" type="presParOf" srcId="{50F76B4C-C8DD-4B62-8616-49AE854A466C}" destId="{5B279791-A258-4CFB-951A-BF02B66FD081}" srcOrd="0" destOrd="0" presId="urn:microsoft.com/office/officeart/2005/8/layout/hList1"/>
    <dgm:cxn modelId="{4CEC229C-8FCA-4722-A975-14814C802EEB}" type="presParOf" srcId="{50F76B4C-C8DD-4B62-8616-49AE854A466C}" destId="{9EB3152B-9897-4A07-865A-9E5405D3C81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378A94-1F38-484B-B16C-E586BE50F020}" type="doc">
      <dgm:prSet loTypeId="urn:microsoft.com/office/officeart/2005/8/layout/lProcess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47F944C-F2DD-4C30-8A9A-5128F26715CC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ctr"/>
          <a:r>
            <a:rPr lang="de-DE" sz="1500" b="1" dirty="0" smtClean="0"/>
            <a:t>Text</a:t>
          </a:r>
          <a:endParaRPr lang="de-DE" sz="1500" b="1" dirty="0"/>
        </a:p>
      </dgm:t>
    </dgm:pt>
    <dgm:pt modelId="{4A2795C9-0499-457D-A990-DEF7E4C623D7}" type="parTrans" cxnId="{5748056D-FE67-458C-A142-950392BDAC1B}">
      <dgm:prSet/>
      <dgm:spPr/>
      <dgm:t>
        <a:bodyPr/>
        <a:lstStyle/>
        <a:p>
          <a:pPr algn="l"/>
          <a:endParaRPr lang="de-DE" sz="1500"/>
        </a:p>
      </dgm:t>
    </dgm:pt>
    <dgm:pt modelId="{33891B11-153D-466B-A8A7-002528DF7780}" type="sibTrans" cxnId="{5748056D-FE67-458C-A142-950392BDAC1B}">
      <dgm:prSet/>
      <dgm:spPr/>
      <dgm:t>
        <a:bodyPr/>
        <a:lstStyle/>
        <a:p>
          <a:pPr algn="l"/>
          <a:endParaRPr lang="de-DE" sz="1500"/>
        </a:p>
      </dgm:t>
    </dgm:pt>
    <dgm:pt modelId="{A31D6510-34D2-4C1C-8420-E7ADEDC49F5D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ctr"/>
          <a:r>
            <a:rPr lang="de-DE" sz="1500" b="1" dirty="0" smtClean="0"/>
            <a:t>Text</a:t>
          </a:r>
          <a:endParaRPr lang="de-DE" sz="1500" b="1" dirty="0"/>
        </a:p>
      </dgm:t>
    </dgm:pt>
    <dgm:pt modelId="{3DF10AB9-0494-4163-A49B-A3379C6425ED}" type="parTrans" cxnId="{05F68170-AFE0-4FB1-972F-FD26CA9B559B}">
      <dgm:prSet/>
      <dgm:spPr/>
      <dgm:t>
        <a:bodyPr/>
        <a:lstStyle/>
        <a:p>
          <a:pPr algn="l"/>
          <a:endParaRPr lang="de-DE" sz="1500"/>
        </a:p>
      </dgm:t>
    </dgm:pt>
    <dgm:pt modelId="{9449BB3B-AD2D-4958-87F1-907EBAAF15C1}" type="sibTrans" cxnId="{05F68170-AFE0-4FB1-972F-FD26CA9B559B}">
      <dgm:prSet/>
      <dgm:spPr/>
      <dgm:t>
        <a:bodyPr/>
        <a:lstStyle/>
        <a:p>
          <a:pPr algn="l"/>
          <a:endParaRPr lang="de-DE" sz="1500"/>
        </a:p>
      </dgm:t>
    </dgm:pt>
    <dgm:pt modelId="{A75F7A51-0ADC-438A-BB6D-61E677D1C5A8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ctr"/>
          <a:r>
            <a:rPr lang="de-DE" sz="1500" b="1" dirty="0" smtClean="0"/>
            <a:t>Text</a:t>
          </a:r>
          <a:endParaRPr lang="de-DE" sz="1500" b="1" dirty="0"/>
        </a:p>
      </dgm:t>
    </dgm:pt>
    <dgm:pt modelId="{A0037CAA-CB54-4B58-9476-86E9E21C4429}" type="parTrans" cxnId="{42AFDE0D-E4C3-4942-B361-E447EF78AEA8}">
      <dgm:prSet/>
      <dgm:spPr/>
      <dgm:t>
        <a:bodyPr/>
        <a:lstStyle/>
        <a:p>
          <a:pPr algn="l"/>
          <a:endParaRPr lang="de-DE" sz="1500"/>
        </a:p>
      </dgm:t>
    </dgm:pt>
    <dgm:pt modelId="{F800B681-AEBD-40C7-8D3F-AAA419113757}" type="sibTrans" cxnId="{42AFDE0D-E4C3-4942-B361-E447EF78AEA8}">
      <dgm:prSet/>
      <dgm:spPr/>
      <dgm:t>
        <a:bodyPr/>
        <a:lstStyle/>
        <a:p>
          <a:pPr algn="l"/>
          <a:endParaRPr lang="de-DE" sz="1500"/>
        </a:p>
      </dgm:t>
    </dgm:pt>
    <dgm:pt modelId="{B49AE039-2FEA-4BAF-AE5E-6019DD2BDDDA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ctr"/>
          <a:r>
            <a:rPr lang="de-DE" sz="1500" b="1" dirty="0" smtClean="0"/>
            <a:t>Text</a:t>
          </a:r>
          <a:endParaRPr lang="de-DE" sz="1500" b="1" dirty="0"/>
        </a:p>
      </dgm:t>
    </dgm:pt>
    <dgm:pt modelId="{DA68029C-BE9F-4462-83CD-30967C1B0F1A}" type="parTrans" cxnId="{36CBD9B9-C417-4B95-87F5-7933C25C8B1E}">
      <dgm:prSet/>
      <dgm:spPr/>
      <dgm:t>
        <a:bodyPr/>
        <a:lstStyle/>
        <a:p>
          <a:pPr algn="l"/>
          <a:endParaRPr lang="de-DE" sz="1500"/>
        </a:p>
      </dgm:t>
    </dgm:pt>
    <dgm:pt modelId="{86DDCE55-2323-47CE-BE77-42B23B9903B8}" type="sibTrans" cxnId="{36CBD9B9-C417-4B95-87F5-7933C25C8B1E}">
      <dgm:prSet/>
      <dgm:spPr/>
      <dgm:t>
        <a:bodyPr/>
        <a:lstStyle/>
        <a:p>
          <a:pPr algn="l"/>
          <a:endParaRPr lang="de-DE" sz="1500"/>
        </a:p>
      </dgm:t>
    </dgm:pt>
    <dgm:pt modelId="{7B6F77C3-B845-4DC4-B848-AA63BAD8C089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B2808C5-84E8-4170-A977-0C8F360B2150}" type="parTrans" cxnId="{9AF8C73F-19E7-4704-8320-3D7A2D77D32A}">
      <dgm:prSet/>
      <dgm:spPr/>
      <dgm:t>
        <a:bodyPr/>
        <a:lstStyle/>
        <a:p>
          <a:pPr algn="l"/>
          <a:endParaRPr lang="de-DE" sz="1500"/>
        </a:p>
      </dgm:t>
    </dgm:pt>
    <dgm:pt modelId="{2E61C6B2-C84B-4AFA-9F03-F6389BACEEDE}" type="sibTrans" cxnId="{9AF8C73F-19E7-4704-8320-3D7A2D77D32A}">
      <dgm:prSet/>
      <dgm:spPr/>
      <dgm:t>
        <a:bodyPr/>
        <a:lstStyle/>
        <a:p>
          <a:pPr algn="l"/>
          <a:endParaRPr lang="de-DE" sz="1500"/>
        </a:p>
      </dgm:t>
    </dgm:pt>
    <dgm:pt modelId="{37133254-3244-4FFD-8F29-171C0366F608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61AA30A7-B661-49F4-A8BD-06A3BB468E34}" type="parTrans" cxnId="{737C09A6-CB39-4C2D-AB2A-1D25E253E29A}">
      <dgm:prSet/>
      <dgm:spPr/>
      <dgm:t>
        <a:bodyPr/>
        <a:lstStyle/>
        <a:p>
          <a:pPr algn="l"/>
          <a:endParaRPr lang="de-DE" sz="1500"/>
        </a:p>
      </dgm:t>
    </dgm:pt>
    <dgm:pt modelId="{9D328A0D-B8F0-4DCE-9F46-1A2B168C98C7}" type="sibTrans" cxnId="{737C09A6-CB39-4C2D-AB2A-1D25E253E29A}">
      <dgm:prSet/>
      <dgm:spPr/>
      <dgm:t>
        <a:bodyPr/>
        <a:lstStyle/>
        <a:p>
          <a:pPr algn="l"/>
          <a:endParaRPr lang="de-DE" sz="1500"/>
        </a:p>
      </dgm:t>
    </dgm:pt>
    <dgm:pt modelId="{F2A32DEA-DFB6-4295-86E1-9BF86CE26755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8725CA8C-6643-4467-90BD-B6C358DA7926}" type="parTrans" cxnId="{427E97DD-411F-45D7-B44E-17AE8DA3C797}">
      <dgm:prSet/>
      <dgm:spPr/>
      <dgm:t>
        <a:bodyPr/>
        <a:lstStyle/>
        <a:p>
          <a:pPr algn="l"/>
          <a:endParaRPr lang="de-DE" sz="1500"/>
        </a:p>
      </dgm:t>
    </dgm:pt>
    <dgm:pt modelId="{40E9EF70-031E-4330-A52B-1AB87C3E15A6}" type="sibTrans" cxnId="{427E97DD-411F-45D7-B44E-17AE8DA3C797}">
      <dgm:prSet/>
      <dgm:spPr/>
      <dgm:t>
        <a:bodyPr/>
        <a:lstStyle/>
        <a:p>
          <a:pPr algn="l"/>
          <a:endParaRPr lang="de-DE" sz="1500"/>
        </a:p>
      </dgm:t>
    </dgm:pt>
    <dgm:pt modelId="{BC978561-7565-4B49-B139-B07414CC5EA2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6A5907C-7A4F-43E7-8A81-7B7BEF6A0372}" type="parTrans" cxnId="{0234E845-7D3F-481E-A4E2-5F3ACFB073B2}">
      <dgm:prSet/>
      <dgm:spPr/>
      <dgm:t>
        <a:bodyPr/>
        <a:lstStyle/>
        <a:p>
          <a:pPr algn="l"/>
          <a:endParaRPr lang="de-DE" sz="1500"/>
        </a:p>
      </dgm:t>
    </dgm:pt>
    <dgm:pt modelId="{2CA4E538-7572-48BB-8F56-C2E8FDDA292C}" type="sibTrans" cxnId="{0234E845-7D3F-481E-A4E2-5F3ACFB073B2}">
      <dgm:prSet/>
      <dgm:spPr/>
      <dgm:t>
        <a:bodyPr/>
        <a:lstStyle/>
        <a:p>
          <a:pPr algn="l"/>
          <a:endParaRPr lang="de-DE" sz="1500"/>
        </a:p>
      </dgm:t>
    </dgm:pt>
    <dgm:pt modelId="{A08C16BF-0239-42EE-ABAD-C5F0CFE110D1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E95C4C97-2E71-4640-A951-90E980293D03}" type="parTrans" cxnId="{66E1B78D-81A8-4EE7-99C9-A8E6934CC16F}">
      <dgm:prSet/>
      <dgm:spPr/>
      <dgm:t>
        <a:bodyPr/>
        <a:lstStyle/>
        <a:p>
          <a:pPr algn="l"/>
          <a:endParaRPr lang="de-DE" sz="1500"/>
        </a:p>
      </dgm:t>
    </dgm:pt>
    <dgm:pt modelId="{D427665E-E2BB-4781-B755-E46FA10AD235}" type="sibTrans" cxnId="{66E1B78D-81A8-4EE7-99C9-A8E6934CC16F}">
      <dgm:prSet/>
      <dgm:spPr/>
      <dgm:t>
        <a:bodyPr/>
        <a:lstStyle/>
        <a:p>
          <a:pPr algn="l"/>
          <a:endParaRPr lang="de-DE" sz="1500"/>
        </a:p>
      </dgm:t>
    </dgm:pt>
    <dgm:pt modelId="{BD87B6E8-0536-4BF5-8185-D254DBF94377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1D5E9AF0-6630-4188-BC86-7F7BAF6D4AF4}" type="parTrans" cxnId="{9F7DA6A7-0669-4F26-B72B-44A0B8C54669}">
      <dgm:prSet/>
      <dgm:spPr/>
      <dgm:t>
        <a:bodyPr/>
        <a:lstStyle/>
        <a:p>
          <a:pPr algn="l"/>
          <a:endParaRPr lang="de-DE" sz="1500"/>
        </a:p>
      </dgm:t>
    </dgm:pt>
    <dgm:pt modelId="{1D432DA3-04BC-4908-8086-320E1A8FD6C1}" type="sibTrans" cxnId="{9F7DA6A7-0669-4F26-B72B-44A0B8C54669}">
      <dgm:prSet/>
      <dgm:spPr/>
      <dgm:t>
        <a:bodyPr/>
        <a:lstStyle/>
        <a:p>
          <a:pPr algn="l"/>
          <a:endParaRPr lang="de-DE" sz="1500"/>
        </a:p>
      </dgm:t>
    </dgm:pt>
    <dgm:pt modelId="{5EAB028D-5976-4EDC-BE60-FE0A2BCAF1C1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E89525F7-4355-45C5-9548-02366C439FC0}" type="parTrans" cxnId="{2FF5162E-F123-4564-8219-F8D94C7C4755}">
      <dgm:prSet/>
      <dgm:spPr/>
      <dgm:t>
        <a:bodyPr/>
        <a:lstStyle/>
        <a:p>
          <a:pPr algn="l"/>
          <a:endParaRPr lang="de-DE" sz="1500"/>
        </a:p>
      </dgm:t>
    </dgm:pt>
    <dgm:pt modelId="{445815D0-35F7-42E5-A0C9-9B7F930BD8BB}" type="sibTrans" cxnId="{2FF5162E-F123-4564-8219-F8D94C7C4755}">
      <dgm:prSet/>
      <dgm:spPr/>
      <dgm:t>
        <a:bodyPr/>
        <a:lstStyle/>
        <a:p>
          <a:pPr algn="l"/>
          <a:endParaRPr lang="de-DE" sz="1500"/>
        </a:p>
      </dgm:t>
    </dgm:pt>
    <dgm:pt modelId="{844A99B3-25DE-4323-8BF0-3F9D35A87557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79C2CE3-9D50-4B06-9F1D-AA3A9A4019BB}" type="parTrans" cxnId="{E66FA5E4-BC03-4281-852B-0A54155192B2}">
      <dgm:prSet/>
      <dgm:spPr/>
      <dgm:t>
        <a:bodyPr/>
        <a:lstStyle/>
        <a:p>
          <a:pPr algn="l"/>
          <a:endParaRPr lang="de-DE" sz="1500"/>
        </a:p>
      </dgm:t>
    </dgm:pt>
    <dgm:pt modelId="{BFECDDCF-5FBB-46C0-A0F0-D469F5622F17}" type="sibTrans" cxnId="{E66FA5E4-BC03-4281-852B-0A54155192B2}">
      <dgm:prSet/>
      <dgm:spPr/>
      <dgm:t>
        <a:bodyPr/>
        <a:lstStyle/>
        <a:p>
          <a:pPr algn="l"/>
          <a:endParaRPr lang="de-DE" sz="1500"/>
        </a:p>
      </dgm:t>
    </dgm:pt>
    <dgm:pt modelId="{B856BCE5-4360-4F82-8A0C-A4F73AAAEE92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370C9BF-910D-4B0F-9675-C6D24BF01B4D}" type="parTrans" cxnId="{26FB8C35-19C2-4D94-AA0A-D71F0D3AC027}">
      <dgm:prSet/>
      <dgm:spPr/>
      <dgm:t>
        <a:bodyPr/>
        <a:lstStyle/>
        <a:p>
          <a:pPr algn="l"/>
          <a:endParaRPr lang="de-DE" sz="1500"/>
        </a:p>
      </dgm:t>
    </dgm:pt>
    <dgm:pt modelId="{D8B34011-8007-48C7-B629-B1A07C96EE0D}" type="sibTrans" cxnId="{26FB8C35-19C2-4D94-AA0A-D71F0D3AC027}">
      <dgm:prSet/>
      <dgm:spPr/>
      <dgm:t>
        <a:bodyPr/>
        <a:lstStyle/>
        <a:p>
          <a:pPr algn="l"/>
          <a:endParaRPr lang="de-DE" sz="1500"/>
        </a:p>
      </dgm:t>
    </dgm:pt>
    <dgm:pt modelId="{B6F78B8B-9DBC-4DC9-B94D-3FB38C7B7187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BEAEC98E-6AC7-4213-A272-F5D2AD0A5B56}" type="parTrans" cxnId="{7830CD12-73BC-4606-BB3F-30849D74E0C7}">
      <dgm:prSet/>
      <dgm:spPr/>
      <dgm:t>
        <a:bodyPr/>
        <a:lstStyle/>
        <a:p>
          <a:pPr algn="l"/>
          <a:endParaRPr lang="de-DE" sz="1500"/>
        </a:p>
      </dgm:t>
    </dgm:pt>
    <dgm:pt modelId="{5AD02409-FEB3-4F59-88CA-ECEFE3CFAAD9}" type="sibTrans" cxnId="{7830CD12-73BC-4606-BB3F-30849D74E0C7}">
      <dgm:prSet/>
      <dgm:spPr/>
      <dgm:t>
        <a:bodyPr/>
        <a:lstStyle/>
        <a:p>
          <a:pPr algn="l"/>
          <a:endParaRPr lang="de-DE" sz="1500"/>
        </a:p>
      </dgm:t>
    </dgm:pt>
    <dgm:pt modelId="{697F0D95-4C9C-45CD-95ED-244240D91A4E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F2438F09-30F2-41C4-8C1B-9ABD2F7478BE}" type="parTrans" cxnId="{BFB5D9CB-5557-47CE-A68E-E9B06EB3F135}">
      <dgm:prSet/>
      <dgm:spPr/>
      <dgm:t>
        <a:bodyPr/>
        <a:lstStyle/>
        <a:p>
          <a:pPr algn="l"/>
          <a:endParaRPr lang="de-DE" sz="1500"/>
        </a:p>
      </dgm:t>
    </dgm:pt>
    <dgm:pt modelId="{7DF8F43A-6DE2-49C2-A8DD-8B2003E5D68D}" type="sibTrans" cxnId="{BFB5D9CB-5557-47CE-A68E-E9B06EB3F135}">
      <dgm:prSet/>
      <dgm:spPr/>
      <dgm:t>
        <a:bodyPr/>
        <a:lstStyle/>
        <a:p>
          <a:pPr algn="l"/>
          <a:endParaRPr lang="de-DE" sz="1500"/>
        </a:p>
      </dgm:t>
    </dgm:pt>
    <dgm:pt modelId="{7B1E22B8-3223-43DA-BC03-D9C869A622A8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A55A9F60-8CEA-492F-93CE-F5EB365BC5A9}" type="parTrans" cxnId="{4F69BEDA-B000-42CD-9FDD-51EA76C69064}">
      <dgm:prSet/>
      <dgm:spPr/>
      <dgm:t>
        <a:bodyPr/>
        <a:lstStyle/>
        <a:p>
          <a:pPr algn="l"/>
          <a:endParaRPr lang="de-DE" sz="1500"/>
        </a:p>
      </dgm:t>
    </dgm:pt>
    <dgm:pt modelId="{D123D35E-8C05-43CE-96F7-53D41302C59D}" type="sibTrans" cxnId="{4F69BEDA-B000-42CD-9FDD-51EA76C69064}">
      <dgm:prSet/>
      <dgm:spPr/>
      <dgm:t>
        <a:bodyPr/>
        <a:lstStyle/>
        <a:p>
          <a:pPr algn="l"/>
          <a:endParaRPr lang="de-DE" sz="1500"/>
        </a:p>
      </dgm:t>
    </dgm:pt>
    <dgm:pt modelId="{45E92423-1BF3-4362-8B1A-7DD69735D1E0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9F34367F-C5CB-412A-9E73-6A535DFBEE00}" type="parTrans" cxnId="{239896FE-9B3E-47A9-BE7A-13FEFCA06BDF}">
      <dgm:prSet/>
      <dgm:spPr/>
      <dgm:t>
        <a:bodyPr/>
        <a:lstStyle/>
        <a:p>
          <a:pPr algn="l"/>
          <a:endParaRPr lang="de-DE" sz="1500"/>
        </a:p>
      </dgm:t>
    </dgm:pt>
    <dgm:pt modelId="{44D343DE-B7F7-413C-834A-47F46E967720}" type="sibTrans" cxnId="{239896FE-9B3E-47A9-BE7A-13FEFCA06BDF}">
      <dgm:prSet/>
      <dgm:spPr/>
      <dgm:t>
        <a:bodyPr/>
        <a:lstStyle/>
        <a:p>
          <a:pPr algn="l"/>
          <a:endParaRPr lang="de-DE" sz="1500"/>
        </a:p>
      </dgm:t>
    </dgm:pt>
    <dgm:pt modelId="{F9BA2210-DA70-4CDF-BF4D-C609683817CC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0F42D439-7DD7-421C-8722-21A703F455E9}" type="parTrans" cxnId="{04DDB76A-2557-4B64-8229-FACA373EF724}">
      <dgm:prSet/>
      <dgm:spPr/>
      <dgm:t>
        <a:bodyPr/>
        <a:lstStyle/>
        <a:p>
          <a:pPr algn="l"/>
          <a:endParaRPr lang="de-DE" sz="1500"/>
        </a:p>
      </dgm:t>
    </dgm:pt>
    <dgm:pt modelId="{A3FC15FB-33EB-4B77-8D6E-6A875D1C5598}" type="sibTrans" cxnId="{04DDB76A-2557-4B64-8229-FACA373EF724}">
      <dgm:prSet/>
      <dgm:spPr/>
      <dgm:t>
        <a:bodyPr/>
        <a:lstStyle/>
        <a:p>
          <a:pPr algn="l"/>
          <a:endParaRPr lang="de-DE" sz="1500"/>
        </a:p>
      </dgm:t>
    </dgm:pt>
    <dgm:pt modelId="{0423CB60-B8DC-482B-981F-DA30F50E1643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711E76B1-790A-4186-8CB6-CA9F9540B157}" type="parTrans" cxnId="{01C14B8C-5FAA-4A4A-B0F1-47D103D1BD69}">
      <dgm:prSet/>
      <dgm:spPr/>
      <dgm:t>
        <a:bodyPr/>
        <a:lstStyle/>
        <a:p>
          <a:pPr algn="l"/>
          <a:endParaRPr lang="de-DE" sz="1500"/>
        </a:p>
      </dgm:t>
    </dgm:pt>
    <dgm:pt modelId="{118C9A29-4733-4179-8243-FD5EB65345C1}" type="sibTrans" cxnId="{01C14B8C-5FAA-4A4A-B0F1-47D103D1BD69}">
      <dgm:prSet/>
      <dgm:spPr/>
      <dgm:t>
        <a:bodyPr/>
        <a:lstStyle/>
        <a:p>
          <a:pPr algn="l"/>
          <a:endParaRPr lang="de-DE" sz="1500"/>
        </a:p>
      </dgm:t>
    </dgm:pt>
    <dgm:pt modelId="{9E17C939-2B5C-4225-A3B4-9E5C1C407F25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862C00A7-13BD-4E75-A744-3E4427EF17F7}" type="parTrans" cxnId="{A22228A7-F117-42AB-AF23-A4006C31F329}">
      <dgm:prSet/>
      <dgm:spPr/>
      <dgm:t>
        <a:bodyPr/>
        <a:lstStyle/>
        <a:p>
          <a:pPr algn="l"/>
          <a:endParaRPr lang="de-DE" sz="1500"/>
        </a:p>
      </dgm:t>
    </dgm:pt>
    <dgm:pt modelId="{A7BF7739-C043-457A-925D-4638000B774D}" type="sibTrans" cxnId="{A22228A7-F117-42AB-AF23-A4006C31F329}">
      <dgm:prSet/>
      <dgm:spPr/>
      <dgm:t>
        <a:bodyPr/>
        <a:lstStyle/>
        <a:p>
          <a:pPr algn="l"/>
          <a:endParaRPr lang="de-DE" sz="1500"/>
        </a:p>
      </dgm:t>
    </dgm:pt>
    <dgm:pt modelId="{E9B57911-36F0-4F27-B54D-9CD72764B062}">
      <dgm:prSet phldrT="[Text]" custT="1"/>
      <dgm:spPr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78F2AF7F-6307-4ABE-B53F-46548A373DC8}" type="parTrans" cxnId="{3C058068-85D7-4EFC-8C96-71D38FB92DDE}">
      <dgm:prSet/>
      <dgm:spPr/>
      <dgm:t>
        <a:bodyPr/>
        <a:lstStyle/>
        <a:p>
          <a:pPr algn="l"/>
          <a:endParaRPr lang="de-DE" sz="1500"/>
        </a:p>
      </dgm:t>
    </dgm:pt>
    <dgm:pt modelId="{1489EF8E-B3E3-4DA3-8063-DC51CB52DDE8}" type="sibTrans" cxnId="{3C058068-85D7-4EFC-8C96-71D38FB92DDE}">
      <dgm:prSet/>
      <dgm:spPr/>
      <dgm:t>
        <a:bodyPr/>
        <a:lstStyle/>
        <a:p>
          <a:pPr algn="l"/>
          <a:endParaRPr lang="de-DE" sz="1500"/>
        </a:p>
      </dgm:t>
    </dgm:pt>
    <dgm:pt modelId="{882B64A3-6AF8-4AA0-A7EB-FC0DD4761FE6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631A1DA4-F369-4884-8690-0B6DFDE2206C}" type="parTrans" cxnId="{1E4C710E-668D-4028-ADF6-0EA716CAD025}">
      <dgm:prSet/>
      <dgm:spPr/>
      <dgm:t>
        <a:bodyPr/>
        <a:lstStyle/>
        <a:p>
          <a:pPr algn="l"/>
          <a:endParaRPr lang="de-DE" sz="1500"/>
        </a:p>
      </dgm:t>
    </dgm:pt>
    <dgm:pt modelId="{E283E672-0224-4AF8-B8B6-B6710B947DB0}" type="sibTrans" cxnId="{1E4C710E-668D-4028-ADF6-0EA716CAD025}">
      <dgm:prSet/>
      <dgm:spPr/>
      <dgm:t>
        <a:bodyPr/>
        <a:lstStyle/>
        <a:p>
          <a:pPr algn="l"/>
          <a:endParaRPr lang="de-DE" sz="1500"/>
        </a:p>
      </dgm:t>
    </dgm:pt>
    <dgm:pt modelId="{577E6639-A779-4757-BAC1-7DA29DEE7B8E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1F4134B4-8DB7-47E3-BB12-08A9FA30861F}" type="parTrans" cxnId="{9181D0AA-3FDC-475C-9127-35838FFECB87}">
      <dgm:prSet/>
      <dgm:spPr/>
      <dgm:t>
        <a:bodyPr/>
        <a:lstStyle/>
        <a:p>
          <a:pPr algn="l"/>
          <a:endParaRPr lang="de-DE" sz="1500"/>
        </a:p>
      </dgm:t>
    </dgm:pt>
    <dgm:pt modelId="{BC1C2530-A4A9-4479-86E7-C345F8AFEA19}" type="sibTrans" cxnId="{9181D0AA-3FDC-475C-9127-35838FFECB87}">
      <dgm:prSet/>
      <dgm:spPr/>
      <dgm:t>
        <a:bodyPr/>
        <a:lstStyle/>
        <a:p>
          <a:pPr algn="l"/>
          <a:endParaRPr lang="de-DE" sz="1500"/>
        </a:p>
      </dgm:t>
    </dgm:pt>
    <dgm:pt modelId="{E876C672-B735-4D07-B7CD-900ECD8585E3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pPr algn="l"/>
          <a:r>
            <a:rPr lang="de-DE" sz="1500" dirty="0" smtClean="0"/>
            <a:t>Text</a:t>
          </a:r>
          <a:endParaRPr lang="de-DE" sz="1500" dirty="0"/>
        </a:p>
      </dgm:t>
    </dgm:pt>
    <dgm:pt modelId="{D077223F-83A6-4D35-BDF1-2C72D67C933F}" type="parTrans" cxnId="{2D60111B-F4E3-4B6D-90BD-8B4AEAF4CE80}">
      <dgm:prSet/>
      <dgm:spPr/>
      <dgm:t>
        <a:bodyPr/>
        <a:lstStyle/>
        <a:p>
          <a:pPr algn="l"/>
          <a:endParaRPr lang="de-DE" sz="1500"/>
        </a:p>
      </dgm:t>
    </dgm:pt>
    <dgm:pt modelId="{C017736A-A642-4A23-B415-B45BFCF2156C}" type="sibTrans" cxnId="{2D60111B-F4E3-4B6D-90BD-8B4AEAF4CE80}">
      <dgm:prSet/>
      <dgm:spPr/>
      <dgm:t>
        <a:bodyPr/>
        <a:lstStyle/>
        <a:p>
          <a:pPr algn="l"/>
          <a:endParaRPr lang="de-DE" sz="1500"/>
        </a:p>
      </dgm:t>
    </dgm:pt>
    <dgm:pt modelId="{8BCB3AF9-CBDC-43B4-9FF9-749D373DDEBF}" type="pres">
      <dgm:prSet presAssocID="{16378A94-1F38-484B-B16C-E586BE50F020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F3A1AFCB-9833-4915-ABDD-7BE00EB17F7A}" type="pres">
      <dgm:prSet presAssocID="{347F944C-F2DD-4C30-8A9A-5128F26715CC}" presName="compNode" presStyleCnt="0"/>
      <dgm:spPr/>
    </dgm:pt>
    <dgm:pt modelId="{7168C50E-6AB4-4671-87F9-731C49D0E17D}" type="pres">
      <dgm:prSet presAssocID="{347F944C-F2DD-4C30-8A9A-5128F26715CC}" presName="aNode" presStyleLbl="bgShp" presStyleIdx="0" presStyleCnt="4"/>
      <dgm:spPr/>
      <dgm:t>
        <a:bodyPr/>
        <a:lstStyle/>
        <a:p>
          <a:endParaRPr lang="de-DE"/>
        </a:p>
      </dgm:t>
    </dgm:pt>
    <dgm:pt modelId="{45F91CAA-7C23-49F3-8659-B39E69B2CF00}" type="pres">
      <dgm:prSet presAssocID="{347F944C-F2DD-4C30-8A9A-5128F26715CC}" presName="textNode" presStyleLbl="bgShp" presStyleIdx="0" presStyleCnt="4"/>
      <dgm:spPr/>
      <dgm:t>
        <a:bodyPr/>
        <a:lstStyle/>
        <a:p>
          <a:endParaRPr lang="de-DE"/>
        </a:p>
      </dgm:t>
    </dgm:pt>
    <dgm:pt modelId="{8FA74796-F11A-42DC-AC86-EDA94B12CB06}" type="pres">
      <dgm:prSet presAssocID="{347F944C-F2DD-4C30-8A9A-5128F26715CC}" presName="compChildNode" presStyleCnt="0"/>
      <dgm:spPr/>
    </dgm:pt>
    <dgm:pt modelId="{CE73958C-901B-4F3D-80C5-AC329C34A76E}" type="pres">
      <dgm:prSet presAssocID="{347F944C-F2DD-4C30-8A9A-5128F26715CC}" presName="theInnerList" presStyleCnt="0"/>
      <dgm:spPr/>
    </dgm:pt>
    <dgm:pt modelId="{E7D2F0AA-D9EB-4C14-880F-561C9D14F040}" type="pres">
      <dgm:prSet presAssocID="{7B6F77C3-B845-4DC4-B848-AA63BAD8C089}" presName="childNode" presStyleLbl="node1" presStyleIdx="0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D00A339-76EA-452E-AA8B-927B90C089A9}" type="pres">
      <dgm:prSet presAssocID="{7B6F77C3-B845-4DC4-B848-AA63BAD8C089}" presName="aSpace2" presStyleCnt="0"/>
      <dgm:spPr/>
    </dgm:pt>
    <dgm:pt modelId="{D38A896C-E035-4A0D-AEEC-C14C4F2B4E5E}" type="pres">
      <dgm:prSet presAssocID="{37133254-3244-4FFD-8F29-171C0366F608}" presName="childNode" presStyleLbl="node1" presStyleIdx="1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6FEF7BF-6690-4344-960F-27F3056C2782}" type="pres">
      <dgm:prSet presAssocID="{37133254-3244-4FFD-8F29-171C0366F608}" presName="aSpace2" presStyleCnt="0"/>
      <dgm:spPr/>
    </dgm:pt>
    <dgm:pt modelId="{AB946072-964E-46FB-B00E-B671D230A5B5}" type="pres">
      <dgm:prSet presAssocID="{F2A32DEA-DFB6-4295-86E1-9BF86CE26755}" presName="childNode" presStyleLbl="node1" presStyleIdx="2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D9839C1-CF0F-4EB7-B561-8F727D401069}" type="pres">
      <dgm:prSet presAssocID="{F2A32DEA-DFB6-4295-86E1-9BF86CE26755}" presName="aSpace2" presStyleCnt="0"/>
      <dgm:spPr/>
    </dgm:pt>
    <dgm:pt modelId="{EB482840-0DCD-403B-9815-18CD7D216535}" type="pres">
      <dgm:prSet presAssocID="{577E6639-A779-4757-BAC1-7DA29DEE7B8E}" presName="childNode" presStyleLbl="node1" presStyleIdx="3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88DE67C-ECBF-4063-AAC3-979A9C7CBD55}" type="pres">
      <dgm:prSet presAssocID="{577E6639-A779-4757-BAC1-7DA29DEE7B8E}" presName="aSpace2" presStyleCnt="0"/>
      <dgm:spPr/>
    </dgm:pt>
    <dgm:pt modelId="{684FCDCE-4758-455E-8FA5-FE278751D06B}" type="pres">
      <dgm:prSet presAssocID="{E876C672-B735-4D07-B7CD-900ECD8585E3}" presName="childNode" presStyleLbl="node1" presStyleIdx="4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D08A38-35C9-4248-9E4B-14BBC98DDF91}" type="pres">
      <dgm:prSet presAssocID="{347F944C-F2DD-4C30-8A9A-5128F26715CC}" presName="aSpace" presStyleCnt="0"/>
      <dgm:spPr/>
    </dgm:pt>
    <dgm:pt modelId="{6D6B89DE-340D-45CD-A512-88E6560C9560}" type="pres">
      <dgm:prSet presAssocID="{A31D6510-34D2-4C1C-8420-E7ADEDC49F5D}" presName="compNode" presStyleCnt="0"/>
      <dgm:spPr/>
    </dgm:pt>
    <dgm:pt modelId="{C96E62EC-28BD-423B-9860-1BBC16FA9872}" type="pres">
      <dgm:prSet presAssocID="{A31D6510-34D2-4C1C-8420-E7ADEDC49F5D}" presName="aNode" presStyleLbl="bgShp" presStyleIdx="1" presStyleCnt="4"/>
      <dgm:spPr/>
      <dgm:t>
        <a:bodyPr/>
        <a:lstStyle/>
        <a:p>
          <a:endParaRPr lang="de-DE"/>
        </a:p>
      </dgm:t>
    </dgm:pt>
    <dgm:pt modelId="{A913ED61-45C5-477E-8237-9E399B2CE0D6}" type="pres">
      <dgm:prSet presAssocID="{A31D6510-34D2-4C1C-8420-E7ADEDC49F5D}" presName="textNode" presStyleLbl="bgShp" presStyleIdx="1" presStyleCnt="4"/>
      <dgm:spPr/>
      <dgm:t>
        <a:bodyPr/>
        <a:lstStyle/>
        <a:p>
          <a:endParaRPr lang="de-DE"/>
        </a:p>
      </dgm:t>
    </dgm:pt>
    <dgm:pt modelId="{A10AE592-F6A6-43DA-A7EC-D1F22F1A97FB}" type="pres">
      <dgm:prSet presAssocID="{A31D6510-34D2-4C1C-8420-E7ADEDC49F5D}" presName="compChildNode" presStyleCnt="0"/>
      <dgm:spPr/>
    </dgm:pt>
    <dgm:pt modelId="{9DBEAFD5-02B9-4C0A-8170-AD117C24CEAC}" type="pres">
      <dgm:prSet presAssocID="{A31D6510-34D2-4C1C-8420-E7ADEDC49F5D}" presName="theInnerList" presStyleCnt="0"/>
      <dgm:spPr/>
    </dgm:pt>
    <dgm:pt modelId="{96DE18F9-2DCE-4937-8163-D1E13AACF241}" type="pres">
      <dgm:prSet presAssocID="{BC978561-7565-4B49-B139-B07414CC5EA2}" presName="childNode" presStyleLbl="node1" presStyleIdx="5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501CECE-4BD7-4816-815D-3A93B65A13D2}" type="pres">
      <dgm:prSet presAssocID="{BC978561-7565-4B49-B139-B07414CC5EA2}" presName="aSpace2" presStyleCnt="0"/>
      <dgm:spPr/>
    </dgm:pt>
    <dgm:pt modelId="{565D8193-B6B5-47C3-99AC-F7AC37EFDBE8}" type="pres">
      <dgm:prSet presAssocID="{A08C16BF-0239-42EE-ABAD-C5F0CFE110D1}" presName="childNode" presStyleLbl="node1" presStyleIdx="6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EC8895-DA6D-4ACF-A7F2-5DFA2E819D82}" type="pres">
      <dgm:prSet presAssocID="{A08C16BF-0239-42EE-ABAD-C5F0CFE110D1}" presName="aSpace2" presStyleCnt="0"/>
      <dgm:spPr/>
    </dgm:pt>
    <dgm:pt modelId="{0FA47683-0BE1-4659-B2D3-2996F25F5931}" type="pres">
      <dgm:prSet presAssocID="{BD87B6E8-0536-4BF5-8185-D254DBF94377}" presName="childNode" presStyleLbl="node1" presStyleIdx="7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CA33251-E45C-47EE-B829-599FE8E7EE07}" type="pres">
      <dgm:prSet presAssocID="{BD87B6E8-0536-4BF5-8185-D254DBF94377}" presName="aSpace2" presStyleCnt="0"/>
      <dgm:spPr/>
    </dgm:pt>
    <dgm:pt modelId="{5D0D4077-11F8-482A-9E72-54CBB6037676}" type="pres">
      <dgm:prSet presAssocID="{E9B57911-36F0-4F27-B54D-9CD72764B062}" presName="childNode" presStyleLbl="node1" presStyleIdx="8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5F600F8-5476-4017-BB57-C1D31A8E79C0}" type="pres">
      <dgm:prSet presAssocID="{E9B57911-36F0-4F27-B54D-9CD72764B062}" presName="aSpace2" presStyleCnt="0"/>
      <dgm:spPr/>
    </dgm:pt>
    <dgm:pt modelId="{402E758E-0AAE-4E4D-81E3-A473C031B568}" type="pres">
      <dgm:prSet presAssocID="{882B64A3-6AF8-4AA0-A7EB-FC0DD4761FE6}" presName="childNode" presStyleLbl="node1" presStyleIdx="9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E3FBB0C-9C38-452E-9097-B8B6E80EA340}" type="pres">
      <dgm:prSet presAssocID="{A31D6510-34D2-4C1C-8420-E7ADEDC49F5D}" presName="aSpace" presStyleCnt="0"/>
      <dgm:spPr/>
    </dgm:pt>
    <dgm:pt modelId="{5A273DF2-6A06-4245-8F03-2855D491B529}" type="pres">
      <dgm:prSet presAssocID="{A75F7A51-0ADC-438A-BB6D-61E677D1C5A8}" presName="compNode" presStyleCnt="0"/>
      <dgm:spPr/>
    </dgm:pt>
    <dgm:pt modelId="{7C211B65-5751-4BEB-919D-64C70DBB3D78}" type="pres">
      <dgm:prSet presAssocID="{A75F7A51-0ADC-438A-BB6D-61E677D1C5A8}" presName="aNode" presStyleLbl="bgShp" presStyleIdx="2" presStyleCnt="4"/>
      <dgm:spPr/>
      <dgm:t>
        <a:bodyPr/>
        <a:lstStyle/>
        <a:p>
          <a:endParaRPr lang="de-DE"/>
        </a:p>
      </dgm:t>
    </dgm:pt>
    <dgm:pt modelId="{2E26E0EB-E776-4393-BA02-2A4AAACD38DA}" type="pres">
      <dgm:prSet presAssocID="{A75F7A51-0ADC-438A-BB6D-61E677D1C5A8}" presName="textNode" presStyleLbl="bgShp" presStyleIdx="2" presStyleCnt="4"/>
      <dgm:spPr/>
      <dgm:t>
        <a:bodyPr/>
        <a:lstStyle/>
        <a:p>
          <a:endParaRPr lang="de-DE"/>
        </a:p>
      </dgm:t>
    </dgm:pt>
    <dgm:pt modelId="{6D3E706C-8074-474E-937D-1AFF3F571FB6}" type="pres">
      <dgm:prSet presAssocID="{A75F7A51-0ADC-438A-BB6D-61E677D1C5A8}" presName="compChildNode" presStyleCnt="0"/>
      <dgm:spPr/>
    </dgm:pt>
    <dgm:pt modelId="{AA44A115-13E0-45B8-B10E-791FA52245CA}" type="pres">
      <dgm:prSet presAssocID="{A75F7A51-0ADC-438A-BB6D-61E677D1C5A8}" presName="theInnerList" presStyleCnt="0"/>
      <dgm:spPr/>
    </dgm:pt>
    <dgm:pt modelId="{06ECEB97-9E58-4272-AAAD-64B8D1AF7928}" type="pres">
      <dgm:prSet presAssocID="{5EAB028D-5976-4EDC-BE60-FE0A2BCAF1C1}" presName="childNode" presStyleLbl="node1" presStyleIdx="10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CD96B91-F5F7-4A92-A5CD-C90149B10E34}" type="pres">
      <dgm:prSet presAssocID="{5EAB028D-5976-4EDC-BE60-FE0A2BCAF1C1}" presName="aSpace2" presStyleCnt="0"/>
      <dgm:spPr/>
    </dgm:pt>
    <dgm:pt modelId="{EF318ED2-C46A-4542-83EA-DB766FF1788B}" type="pres">
      <dgm:prSet presAssocID="{844A99B3-25DE-4323-8BF0-3F9D35A87557}" presName="childNode" presStyleLbl="node1" presStyleIdx="11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E8D6C10-EA7E-4699-A093-F4BD26AE7522}" type="pres">
      <dgm:prSet presAssocID="{844A99B3-25DE-4323-8BF0-3F9D35A87557}" presName="aSpace2" presStyleCnt="0"/>
      <dgm:spPr/>
    </dgm:pt>
    <dgm:pt modelId="{4FB9B4E7-D4A5-4752-B50A-B9383083D638}" type="pres">
      <dgm:prSet presAssocID="{B856BCE5-4360-4F82-8A0C-A4F73AAAEE92}" presName="childNode" presStyleLbl="node1" presStyleIdx="12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C96043E-9054-4952-B5DF-59015B5C44CC}" type="pres">
      <dgm:prSet presAssocID="{B856BCE5-4360-4F82-8A0C-A4F73AAAEE92}" presName="aSpace2" presStyleCnt="0"/>
      <dgm:spPr/>
    </dgm:pt>
    <dgm:pt modelId="{9FB76DD2-CA04-4D0E-94FD-80DEB4F83AAF}" type="pres">
      <dgm:prSet presAssocID="{0423CB60-B8DC-482B-981F-DA30F50E1643}" presName="childNode" presStyleLbl="node1" presStyleIdx="13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A064DBE-D710-4229-B3D6-288B4F6D3012}" type="pres">
      <dgm:prSet presAssocID="{0423CB60-B8DC-482B-981F-DA30F50E1643}" presName="aSpace2" presStyleCnt="0"/>
      <dgm:spPr/>
    </dgm:pt>
    <dgm:pt modelId="{C497E1DD-94FA-4F95-A288-F9E939A3669D}" type="pres">
      <dgm:prSet presAssocID="{9E17C939-2B5C-4225-A3B4-9E5C1C407F25}" presName="childNode" presStyleLbl="node1" presStyleIdx="14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CEFAB34-1A29-4B86-81E8-9E88DD2544E6}" type="pres">
      <dgm:prSet presAssocID="{A75F7A51-0ADC-438A-BB6D-61E677D1C5A8}" presName="aSpace" presStyleCnt="0"/>
      <dgm:spPr/>
    </dgm:pt>
    <dgm:pt modelId="{FD06A477-16DF-46BE-804D-67CFEF1972D7}" type="pres">
      <dgm:prSet presAssocID="{B49AE039-2FEA-4BAF-AE5E-6019DD2BDDDA}" presName="compNode" presStyleCnt="0"/>
      <dgm:spPr/>
    </dgm:pt>
    <dgm:pt modelId="{11495438-4C61-4BED-9D99-24AAEBD7D98B}" type="pres">
      <dgm:prSet presAssocID="{B49AE039-2FEA-4BAF-AE5E-6019DD2BDDDA}" presName="aNode" presStyleLbl="bgShp" presStyleIdx="3" presStyleCnt="4"/>
      <dgm:spPr/>
      <dgm:t>
        <a:bodyPr/>
        <a:lstStyle/>
        <a:p>
          <a:endParaRPr lang="de-DE"/>
        </a:p>
      </dgm:t>
    </dgm:pt>
    <dgm:pt modelId="{38B70302-B074-49CE-8F07-A6343B6B27F3}" type="pres">
      <dgm:prSet presAssocID="{B49AE039-2FEA-4BAF-AE5E-6019DD2BDDDA}" presName="textNode" presStyleLbl="bgShp" presStyleIdx="3" presStyleCnt="4"/>
      <dgm:spPr/>
      <dgm:t>
        <a:bodyPr/>
        <a:lstStyle/>
        <a:p>
          <a:endParaRPr lang="de-DE"/>
        </a:p>
      </dgm:t>
    </dgm:pt>
    <dgm:pt modelId="{5E5B89A9-3C40-423E-B455-2BDD8FF7A207}" type="pres">
      <dgm:prSet presAssocID="{B49AE039-2FEA-4BAF-AE5E-6019DD2BDDDA}" presName="compChildNode" presStyleCnt="0"/>
      <dgm:spPr/>
    </dgm:pt>
    <dgm:pt modelId="{59C21865-FAF4-4F63-AA17-B498D0305F98}" type="pres">
      <dgm:prSet presAssocID="{B49AE039-2FEA-4BAF-AE5E-6019DD2BDDDA}" presName="theInnerList" presStyleCnt="0"/>
      <dgm:spPr/>
    </dgm:pt>
    <dgm:pt modelId="{8E129E1D-68C2-4DD4-A073-E245B864432D}" type="pres">
      <dgm:prSet presAssocID="{B6F78B8B-9DBC-4DC9-B94D-3FB38C7B7187}" presName="childNode" presStyleLbl="node1" presStyleIdx="15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3A0CDB-7BE0-4E84-962A-BB4331625EF2}" type="pres">
      <dgm:prSet presAssocID="{B6F78B8B-9DBC-4DC9-B94D-3FB38C7B7187}" presName="aSpace2" presStyleCnt="0"/>
      <dgm:spPr/>
    </dgm:pt>
    <dgm:pt modelId="{896F9CB2-8118-410D-9865-D22FE62C081A}" type="pres">
      <dgm:prSet presAssocID="{697F0D95-4C9C-45CD-95ED-244240D91A4E}" presName="childNode" presStyleLbl="node1" presStyleIdx="16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956A079-B23F-4815-B141-68AF992F85A8}" type="pres">
      <dgm:prSet presAssocID="{697F0D95-4C9C-45CD-95ED-244240D91A4E}" presName="aSpace2" presStyleCnt="0"/>
      <dgm:spPr/>
    </dgm:pt>
    <dgm:pt modelId="{8FF8F574-28A0-4908-873D-ECC51206F5CD}" type="pres">
      <dgm:prSet presAssocID="{7B1E22B8-3223-43DA-BC03-D9C869A622A8}" presName="childNode" presStyleLbl="node1" presStyleIdx="17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768749F-875C-4FBC-9CBF-543ED3C5D68D}" type="pres">
      <dgm:prSet presAssocID="{7B1E22B8-3223-43DA-BC03-D9C869A622A8}" presName="aSpace2" presStyleCnt="0"/>
      <dgm:spPr/>
    </dgm:pt>
    <dgm:pt modelId="{48C62D5D-D73D-47B9-B5D4-C8D89C9C5E41}" type="pres">
      <dgm:prSet presAssocID="{45E92423-1BF3-4362-8B1A-7DD69735D1E0}" presName="childNode" presStyleLbl="node1" presStyleIdx="18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08E4DD0-DE61-4C0B-96CE-EE52E3CD68DD}" type="pres">
      <dgm:prSet presAssocID="{45E92423-1BF3-4362-8B1A-7DD69735D1E0}" presName="aSpace2" presStyleCnt="0"/>
      <dgm:spPr/>
    </dgm:pt>
    <dgm:pt modelId="{7F5B9D31-6923-4101-B00A-95121B75CFDB}" type="pres">
      <dgm:prSet presAssocID="{F9BA2210-DA70-4CDF-BF4D-C609683817CC}" presName="childNode" presStyleLbl="node1" presStyleIdx="19" presStyleCnt="2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6E1B78D-81A8-4EE7-99C9-A8E6934CC16F}" srcId="{A31D6510-34D2-4C1C-8420-E7ADEDC49F5D}" destId="{A08C16BF-0239-42EE-ABAD-C5F0CFE110D1}" srcOrd="1" destOrd="0" parTransId="{E95C4C97-2E71-4640-A951-90E980293D03}" sibTransId="{D427665E-E2BB-4781-B755-E46FA10AD235}"/>
    <dgm:cxn modelId="{01C14B8C-5FAA-4A4A-B0F1-47D103D1BD69}" srcId="{A75F7A51-0ADC-438A-BB6D-61E677D1C5A8}" destId="{0423CB60-B8DC-482B-981F-DA30F50E1643}" srcOrd="3" destOrd="0" parTransId="{711E76B1-790A-4186-8CB6-CA9F9540B157}" sibTransId="{118C9A29-4733-4179-8243-FD5EB65345C1}"/>
    <dgm:cxn modelId="{C9E17817-93A1-4569-B2A0-2364A9765225}" type="presOf" srcId="{F2A32DEA-DFB6-4295-86E1-9BF86CE26755}" destId="{AB946072-964E-46FB-B00E-B671D230A5B5}" srcOrd="0" destOrd="0" presId="urn:microsoft.com/office/officeart/2005/8/layout/lProcess2"/>
    <dgm:cxn modelId="{9181D0AA-3FDC-475C-9127-35838FFECB87}" srcId="{347F944C-F2DD-4C30-8A9A-5128F26715CC}" destId="{577E6639-A779-4757-BAC1-7DA29DEE7B8E}" srcOrd="3" destOrd="0" parTransId="{1F4134B4-8DB7-47E3-BB12-08A9FA30861F}" sibTransId="{BC1C2530-A4A9-4479-86E7-C345F8AFEA19}"/>
    <dgm:cxn modelId="{797D5769-EDF8-4685-A7EC-E861F17305AD}" type="presOf" srcId="{A75F7A51-0ADC-438A-BB6D-61E677D1C5A8}" destId="{7C211B65-5751-4BEB-919D-64C70DBB3D78}" srcOrd="0" destOrd="0" presId="urn:microsoft.com/office/officeart/2005/8/layout/lProcess2"/>
    <dgm:cxn modelId="{5748056D-FE67-458C-A142-950392BDAC1B}" srcId="{16378A94-1F38-484B-B16C-E586BE50F020}" destId="{347F944C-F2DD-4C30-8A9A-5128F26715CC}" srcOrd="0" destOrd="0" parTransId="{4A2795C9-0499-457D-A990-DEF7E4C623D7}" sibTransId="{33891B11-153D-466B-A8A7-002528DF7780}"/>
    <dgm:cxn modelId="{3ED1224E-3536-46B9-A274-0359970AF82B}" type="presOf" srcId="{45E92423-1BF3-4362-8B1A-7DD69735D1E0}" destId="{48C62D5D-D73D-47B9-B5D4-C8D89C9C5E41}" srcOrd="0" destOrd="0" presId="urn:microsoft.com/office/officeart/2005/8/layout/lProcess2"/>
    <dgm:cxn modelId="{4ABE8653-2A7C-4E68-8AC7-2C27FD18C677}" type="presOf" srcId="{B49AE039-2FEA-4BAF-AE5E-6019DD2BDDDA}" destId="{38B70302-B074-49CE-8F07-A6343B6B27F3}" srcOrd="1" destOrd="0" presId="urn:microsoft.com/office/officeart/2005/8/layout/lProcess2"/>
    <dgm:cxn modelId="{817BD04D-3F8D-4DA4-85F6-9A52234D5EE0}" type="presOf" srcId="{9E17C939-2B5C-4225-A3B4-9E5C1C407F25}" destId="{C497E1DD-94FA-4F95-A288-F9E939A3669D}" srcOrd="0" destOrd="0" presId="urn:microsoft.com/office/officeart/2005/8/layout/lProcess2"/>
    <dgm:cxn modelId="{C7450D48-5247-40E1-A772-1B6FF4E5B8D3}" type="presOf" srcId="{A75F7A51-0ADC-438A-BB6D-61E677D1C5A8}" destId="{2E26E0EB-E776-4393-BA02-2A4AAACD38DA}" srcOrd="1" destOrd="0" presId="urn:microsoft.com/office/officeart/2005/8/layout/lProcess2"/>
    <dgm:cxn modelId="{7830CD12-73BC-4606-BB3F-30849D74E0C7}" srcId="{B49AE039-2FEA-4BAF-AE5E-6019DD2BDDDA}" destId="{B6F78B8B-9DBC-4DC9-B94D-3FB38C7B7187}" srcOrd="0" destOrd="0" parTransId="{BEAEC98E-6AC7-4213-A272-F5D2AD0A5B56}" sibTransId="{5AD02409-FEB3-4F59-88CA-ECEFE3CFAAD9}"/>
    <dgm:cxn modelId="{3C058068-85D7-4EFC-8C96-71D38FB92DDE}" srcId="{A31D6510-34D2-4C1C-8420-E7ADEDC49F5D}" destId="{E9B57911-36F0-4F27-B54D-9CD72764B062}" srcOrd="3" destOrd="0" parTransId="{78F2AF7F-6307-4ABE-B53F-46548A373DC8}" sibTransId="{1489EF8E-B3E3-4DA3-8063-DC51CB52DDE8}"/>
    <dgm:cxn modelId="{2FF5162E-F123-4564-8219-F8D94C7C4755}" srcId="{A75F7A51-0ADC-438A-BB6D-61E677D1C5A8}" destId="{5EAB028D-5976-4EDC-BE60-FE0A2BCAF1C1}" srcOrd="0" destOrd="0" parTransId="{E89525F7-4355-45C5-9548-02366C439FC0}" sibTransId="{445815D0-35F7-42E5-A0C9-9B7F930BD8BB}"/>
    <dgm:cxn modelId="{BC8BBC22-E3B2-439F-A8E6-9FAF92C6D069}" type="presOf" srcId="{B856BCE5-4360-4F82-8A0C-A4F73AAAEE92}" destId="{4FB9B4E7-D4A5-4752-B50A-B9383083D638}" srcOrd="0" destOrd="0" presId="urn:microsoft.com/office/officeart/2005/8/layout/lProcess2"/>
    <dgm:cxn modelId="{0234E845-7D3F-481E-A4E2-5F3ACFB073B2}" srcId="{A31D6510-34D2-4C1C-8420-E7ADEDC49F5D}" destId="{BC978561-7565-4B49-B139-B07414CC5EA2}" srcOrd="0" destOrd="0" parTransId="{F6A5907C-7A4F-43E7-8A81-7B7BEF6A0372}" sibTransId="{2CA4E538-7572-48BB-8F56-C2E8FDDA292C}"/>
    <dgm:cxn modelId="{9AF8C73F-19E7-4704-8320-3D7A2D77D32A}" srcId="{347F944C-F2DD-4C30-8A9A-5128F26715CC}" destId="{7B6F77C3-B845-4DC4-B848-AA63BAD8C089}" srcOrd="0" destOrd="0" parTransId="{DB2808C5-84E8-4170-A977-0C8F360B2150}" sibTransId="{2E61C6B2-C84B-4AFA-9F03-F6389BACEEDE}"/>
    <dgm:cxn modelId="{BFB5D9CB-5557-47CE-A68E-E9B06EB3F135}" srcId="{B49AE039-2FEA-4BAF-AE5E-6019DD2BDDDA}" destId="{697F0D95-4C9C-45CD-95ED-244240D91A4E}" srcOrd="1" destOrd="0" parTransId="{F2438F09-30F2-41C4-8C1B-9ABD2F7478BE}" sibTransId="{7DF8F43A-6DE2-49C2-A8DD-8B2003E5D68D}"/>
    <dgm:cxn modelId="{AF5B608D-A827-44CD-9757-3CFE4D0C8870}" type="presOf" srcId="{844A99B3-25DE-4323-8BF0-3F9D35A87557}" destId="{EF318ED2-C46A-4542-83EA-DB766FF1788B}" srcOrd="0" destOrd="0" presId="urn:microsoft.com/office/officeart/2005/8/layout/lProcess2"/>
    <dgm:cxn modelId="{F8FC57EA-6379-477A-B563-0668B9475907}" type="presOf" srcId="{882B64A3-6AF8-4AA0-A7EB-FC0DD4761FE6}" destId="{402E758E-0AAE-4E4D-81E3-A473C031B568}" srcOrd="0" destOrd="0" presId="urn:microsoft.com/office/officeart/2005/8/layout/lProcess2"/>
    <dgm:cxn modelId="{6AC6A5E6-C79F-4CD6-A795-6C18952BD73F}" type="presOf" srcId="{16378A94-1F38-484B-B16C-E586BE50F020}" destId="{8BCB3AF9-CBDC-43B4-9FF9-749D373DDEBF}" srcOrd="0" destOrd="0" presId="urn:microsoft.com/office/officeart/2005/8/layout/lProcess2"/>
    <dgm:cxn modelId="{1246396D-F087-4869-ABE2-54CE656AAE36}" type="presOf" srcId="{B6F78B8B-9DBC-4DC9-B94D-3FB38C7B7187}" destId="{8E129E1D-68C2-4DD4-A073-E245B864432D}" srcOrd="0" destOrd="0" presId="urn:microsoft.com/office/officeart/2005/8/layout/lProcess2"/>
    <dgm:cxn modelId="{9F7DA6A7-0669-4F26-B72B-44A0B8C54669}" srcId="{A31D6510-34D2-4C1C-8420-E7ADEDC49F5D}" destId="{BD87B6E8-0536-4BF5-8185-D254DBF94377}" srcOrd="2" destOrd="0" parTransId="{1D5E9AF0-6630-4188-BC86-7F7BAF6D4AF4}" sibTransId="{1D432DA3-04BC-4908-8086-320E1A8FD6C1}"/>
    <dgm:cxn modelId="{B23FE698-3246-44CD-BFB4-EE69094773B1}" type="presOf" srcId="{E9B57911-36F0-4F27-B54D-9CD72764B062}" destId="{5D0D4077-11F8-482A-9E72-54CBB6037676}" srcOrd="0" destOrd="0" presId="urn:microsoft.com/office/officeart/2005/8/layout/lProcess2"/>
    <dgm:cxn modelId="{5FD27DE4-3E08-4C60-AC44-AC0AAAE7C96D}" type="presOf" srcId="{B49AE039-2FEA-4BAF-AE5E-6019DD2BDDDA}" destId="{11495438-4C61-4BED-9D99-24AAEBD7D98B}" srcOrd="0" destOrd="0" presId="urn:microsoft.com/office/officeart/2005/8/layout/lProcess2"/>
    <dgm:cxn modelId="{1E4C710E-668D-4028-ADF6-0EA716CAD025}" srcId="{A31D6510-34D2-4C1C-8420-E7ADEDC49F5D}" destId="{882B64A3-6AF8-4AA0-A7EB-FC0DD4761FE6}" srcOrd="4" destOrd="0" parTransId="{631A1DA4-F369-4884-8690-0B6DFDE2206C}" sibTransId="{E283E672-0224-4AF8-B8B6-B6710B947DB0}"/>
    <dgm:cxn modelId="{E901B54C-6EB7-4498-8470-26ACAFE6AA7B}" type="presOf" srcId="{E876C672-B735-4D07-B7CD-900ECD8585E3}" destId="{684FCDCE-4758-455E-8FA5-FE278751D06B}" srcOrd="0" destOrd="0" presId="urn:microsoft.com/office/officeart/2005/8/layout/lProcess2"/>
    <dgm:cxn modelId="{04DDB76A-2557-4B64-8229-FACA373EF724}" srcId="{B49AE039-2FEA-4BAF-AE5E-6019DD2BDDDA}" destId="{F9BA2210-DA70-4CDF-BF4D-C609683817CC}" srcOrd="4" destOrd="0" parTransId="{0F42D439-7DD7-421C-8722-21A703F455E9}" sibTransId="{A3FC15FB-33EB-4B77-8D6E-6A875D1C5598}"/>
    <dgm:cxn modelId="{1107934B-0A6E-4CC4-8E36-7C63D3330D75}" type="presOf" srcId="{697F0D95-4C9C-45CD-95ED-244240D91A4E}" destId="{896F9CB2-8118-410D-9865-D22FE62C081A}" srcOrd="0" destOrd="0" presId="urn:microsoft.com/office/officeart/2005/8/layout/lProcess2"/>
    <dgm:cxn modelId="{12EA4244-A923-4EEB-A744-7553F1A05F97}" type="presOf" srcId="{F9BA2210-DA70-4CDF-BF4D-C609683817CC}" destId="{7F5B9D31-6923-4101-B00A-95121B75CFDB}" srcOrd="0" destOrd="0" presId="urn:microsoft.com/office/officeart/2005/8/layout/lProcess2"/>
    <dgm:cxn modelId="{F25F19CC-C16E-4E0A-8B00-12378D46BF88}" type="presOf" srcId="{577E6639-A779-4757-BAC1-7DA29DEE7B8E}" destId="{EB482840-0DCD-403B-9815-18CD7D216535}" srcOrd="0" destOrd="0" presId="urn:microsoft.com/office/officeart/2005/8/layout/lProcess2"/>
    <dgm:cxn modelId="{CF3CAB93-FFF1-443B-A58A-E7F37BC06FF7}" type="presOf" srcId="{0423CB60-B8DC-482B-981F-DA30F50E1643}" destId="{9FB76DD2-CA04-4D0E-94FD-80DEB4F83AAF}" srcOrd="0" destOrd="0" presId="urn:microsoft.com/office/officeart/2005/8/layout/lProcess2"/>
    <dgm:cxn modelId="{42AFDE0D-E4C3-4942-B361-E447EF78AEA8}" srcId="{16378A94-1F38-484B-B16C-E586BE50F020}" destId="{A75F7A51-0ADC-438A-BB6D-61E677D1C5A8}" srcOrd="2" destOrd="0" parTransId="{A0037CAA-CB54-4B58-9476-86E9E21C4429}" sibTransId="{F800B681-AEBD-40C7-8D3F-AAA419113757}"/>
    <dgm:cxn modelId="{E66FA5E4-BC03-4281-852B-0A54155192B2}" srcId="{A75F7A51-0ADC-438A-BB6D-61E677D1C5A8}" destId="{844A99B3-25DE-4323-8BF0-3F9D35A87557}" srcOrd="1" destOrd="0" parTransId="{F79C2CE3-9D50-4B06-9F1D-AA3A9A4019BB}" sibTransId="{BFECDDCF-5FBB-46C0-A0F0-D469F5622F17}"/>
    <dgm:cxn modelId="{BD8C1366-BD29-41AA-921E-3ED7A8BAAFB2}" type="presOf" srcId="{A08C16BF-0239-42EE-ABAD-C5F0CFE110D1}" destId="{565D8193-B6B5-47C3-99AC-F7AC37EFDBE8}" srcOrd="0" destOrd="0" presId="urn:microsoft.com/office/officeart/2005/8/layout/lProcess2"/>
    <dgm:cxn modelId="{03711F3A-115E-481F-A4E9-278CFF8BEB78}" type="presOf" srcId="{A31D6510-34D2-4C1C-8420-E7ADEDC49F5D}" destId="{A913ED61-45C5-477E-8237-9E399B2CE0D6}" srcOrd="1" destOrd="0" presId="urn:microsoft.com/office/officeart/2005/8/layout/lProcess2"/>
    <dgm:cxn modelId="{290203E1-3707-4F45-9FCD-BE0C7CE73AFA}" type="presOf" srcId="{37133254-3244-4FFD-8F29-171C0366F608}" destId="{D38A896C-E035-4A0D-AEEC-C14C4F2B4E5E}" srcOrd="0" destOrd="0" presId="urn:microsoft.com/office/officeart/2005/8/layout/lProcess2"/>
    <dgm:cxn modelId="{05F68170-AFE0-4FB1-972F-FD26CA9B559B}" srcId="{16378A94-1F38-484B-B16C-E586BE50F020}" destId="{A31D6510-34D2-4C1C-8420-E7ADEDC49F5D}" srcOrd="1" destOrd="0" parTransId="{3DF10AB9-0494-4163-A49B-A3379C6425ED}" sibTransId="{9449BB3B-AD2D-4958-87F1-907EBAAF15C1}"/>
    <dgm:cxn modelId="{75A610F5-E8D6-48C4-BED8-8B250CF993ED}" type="presOf" srcId="{7B6F77C3-B845-4DC4-B848-AA63BAD8C089}" destId="{E7D2F0AA-D9EB-4C14-880F-561C9D14F040}" srcOrd="0" destOrd="0" presId="urn:microsoft.com/office/officeart/2005/8/layout/lProcess2"/>
    <dgm:cxn modelId="{A22228A7-F117-42AB-AF23-A4006C31F329}" srcId="{A75F7A51-0ADC-438A-BB6D-61E677D1C5A8}" destId="{9E17C939-2B5C-4225-A3B4-9E5C1C407F25}" srcOrd="4" destOrd="0" parTransId="{862C00A7-13BD-4E75-A744-3E4427EF17F7}" sibTransId="{A7BF7739-C043-457A-925D-4638000B774D}"/>
    <dgm:cxn modelId="{239896FE-9B3E-47A9-BE7A-13FEFCA06BDF}" srcId="{B49AE039-2FEA-4BAF-AE5E-6019DD2BDDDA}" destId="{45E92423-1BF3-4362-8B1A-7DD69735D1E0}" srcOrd="3" destOrd="0" parTransId="{9F34367F-C5CB-412A-9E73-6A535DFBEE00}" sibTransId="{44D343DE-B7F7-413C-834A-47F46E967720}"/>
    <dgm:cxn modelId="{9087A201-6BE1-4351-AAF5-94A896336301}" type="presOf" srcId="{347F944C-F2DD-4C30-8A9A-5128F26715CC}" destId="{7168C50E-6AB4-4671-87F9-731C49D0E17D}" srcOrd="0" destOrd="0" presId="urn:microsoft.com/office/officeart/2005/8/layout/lProcess2"/>
    <dgm:cxn modelId="{549226E7-3050-4DB0-BCD0-3140BE0B6E6E}" type="presOf" srcId="{A31D6510-34D2-4C1C-8420-E7ADEDC49F5D}" destId="{C96E62EC-28BD-423B-9860-1BBC16FA9872}" srcOrd="0" destOrd="0" presId="urn:microsoft.com/office/officeart/2005/8/layout/lProcess2"/>
    <dgm:cxn modelId="{8BD7DE28-3899-4C8C-921C-1CA02A941C5F}" type="presOf" srcId="{347F944C-F2DD-4C30-8A9A-5128F26715CC}" destId="{45F91CAA-7C23-49F3-8659-B39E69B2CF00}" srcOrd="1" destOrd="0" presId="urn:microsoft.com/office/officeart/2005/8/layout/lProcess2"/>
    <dgm:cxn modelId="{4F69BEDA-B000-42CD-9FDD-51EA76C69064}" srcId="{B49AE039-2FEA-4BAF-AE5E-6019DD2BDDDA}" destId="{7B1E22B8-3223-43DA-BC03-D9C869A622A8}" srcOrd="2" destOrd="0" parTransId="{A55A9F60-8CEA-492F-93CE-F5EB365BC5A9}" sibTransId="{D123D35E-8C05-43CE-96F7-53D41302C59D}"/>
    <dgm:cxn modelId="{2D60111B-F4E3-4B6D-90BD-8B4AEAF4CE80}" srcId="{347F944C-F2DD-4C30-8A9A-5128F26715CC}" destId="{E876C672-B735-4D07-B7CD-900ECD8585E3}" srcOrd="4" destOrd="0" parTransId="{D077223F-83A6-4D35-BDF1-2C72D67C933F}" sibTransId="{C017736A-A642-4A23-B415-B45BFCF2156C}"/>
    <dgm:cxn modelId="{26FB8C35-19C2-4D94-AA0A-D71F0D3AC027}" srcId="{A75F7A51-0ADC-438A-BB6D-61E677D1C5A8}" destId="{B856BCE5-4360-4F82-8A0C-A4F73AAAEE92}" srcOrd="2" destOrd="0" parTransId="{D370C9BF-910D-4B0F-9675-C6D24BF01B4D}" sibTransId="{D8B34011-8007-48C7-B629-B1A07C96EE0D}"/>
    <dgm:cxn modelId="{C0ACEE0F-224E-4DEF-A42F-5BC335C59F04}" type="presOf" srcId="{7B1E22B8-3223-43DA-BC03-D9C869A622A8}" destId="{8FF8F574-28A0-4908-873D-ECC51206F5CD}" srcOrd="0" destOrd="0" presId="urn:microsoft.com/office/officeart/2005/8/layout/lProcess2"/>
    <dgm:cxn modelId="{C4AFD3C1-0D5A-4032-91A0-6DDC933277BB}" type="presOf" srcId="{5EAB028D-5976-4EDC-BE60-FE0A2BCAF1C1}" destId="{06ECEB97-9E58-4272-AAAD-64B8D1AF7928}" srcOrd="0" destOrd="0" presId="urn:microsoft.com/office/officeart/2005/8/layout/lProcess2"/>
    <dgm:cxn modelId="{54B96085-0742-4E91-A957-5EAE51A85D62}" type="presOf" srcId="{BD87B6E8-0536-4BF5-8185-D254DBF94377}" destId="{0FA47683-0BE1-4659-B2D3-2996F25F5931}" srcOrd="0" destOrd="0" presId="urn:microsoft.com/office/officeart/2005/8/layout/lProcess2"/>
    <dgm:cxn modelId="{36CBD9B9-C417-4B95-87F5-7933C25C8B1E}" srcId="{16378A94-1F38-484B-B16C-E586BE50F020}" destId="{B49AE039-2FEA-4BAF-AE5E-6019DD2BDDDA}" srcOrd="3" destOrd="0" parTransId="{DA68029C-BE9F-4462-83CD-30967C1B0F1A}" sibTransId="{86DDCE55-2323-47CE-BE77-42B23B9903B8}"/>
    <dgm:cxn modelId="{427E97DD-411F-45D7-B44E-17AE8DA3C797}" srcId="{347F944C-F2DD-4C30-8A9A-5128F26715CC}" destId="{F2A32DEA-DFB6-4295-86E1-9BF86CE26755}" srcOrd="2" destOrd="0" parTransId="{8725CA8C-6643-4467-90BD-B6C358DA7926}" sibTransId="{40E9EF70-031E-4330-A52B-1AB87C3E15A6}"/>
    <dgm:cxn modelId="{737C09A6-CB39-4C2D-AB2A-1D25E253E29A}" srcId="{347F944C-F2DD-4C30-8A9A-5128F26715CC}" destId="{37133254-3244-4FFD-8F29-171C0366F608}" srcOrd="1" destOrd="0" parTransId="{61AA30A7-B661-49F4-A8BD-06A3BB468E34}" sibTransId="{9D328A0D-B8F0-4DCE-9F46-1A2B168C98C7}"/>
    <dgm:cxn modelId="{4DA53742-4923-469A-B963-E9294B57A7E3}" type="presOf" srcId="{BC978561-7565-4B49-B139-B07414CC5EA2}" destId="{96DE18F9-2DCE-4937-8163-D1E13AACF241}" srcOrd="0" destOrd="0" presId="urn:microsoft.com/office/officeart/2005/8/layout/lProcess2"/>
    <dgm:cxn modelId="{86265016-DD3D-44CC-B5AE-48491F5B5C70}" type="presParOf" srcId="{8BCB3AF9-CBDC-43B4-9FF9-749D373DDEBF}" destId="{F3A1AFCB-9833-4915-ABDD-7BE00EB17F7A}" srcOrd="0" destOrd="0" presId="urn:microsoft.com/office/officeart/2005/8/layout/lProcess2"/>
    <dgm:cxn modelId="{E5B5F250-BBFC-462D-8E88-04CAA1389B0E}" type="presParOf" srcId="{F3A1AFCB-9833-4915-ABDD-7BE00EB17F7A}" destId="{7168C50E-6AB4-4671-87F9-731C49D0E17D}" srcOrd="0" destOrd="0" presId="urn:microsoft.com/office/officeart/2005/8/layout/lProcess2"/>
    <dgm:cxn modelId="{4BF64798-A71B-4245-92CF-1ACAC66CD589}" type="presParOf" srcId="{F3A1AFCB-9833-4915-ABDD-7BE00EB17F7A}" destId="{45F91CAA-7C23-49F3-8659-B39E69B2CF00}" srcOrd="1" destOrd="0" presId="urn:microsoft.com/office/officeart/2005/8/layout/lProcess2"/>
    <dgm:cxn modelId="{EB4B196F-4919-4C73-84C4-47E726676D89}" type="presParOf" srcId="{F3A1AFCB-9833-4915-ABDD-7BE00EB17F7A}" destId="{8FA74796-F11A-42DC-AC86-EDA94B12CB06}" srcOrd="2" destOrd="0" presId="urn:microsoft.com/office/officeart/2005/8/layout/lProcess2"/>
    <dgm:cxn modelId="{942F9BB5-4B22-4EC8-8E0E-8E20CA764B94}" type="presParOf" srcId="{8FA74796-F11A-42DC-AC86-EDA94B12CB06}" destId="{CE73958C-901B-4F3D-80C5-AC329C34A76E}" srcOrd="0" destOrd="0" presId="urn:microsoft.com/office/officeart/2005/8/layout/lProcess2"/>
    <dgm:cxn modelId="{E7C3F87C-C501-452B-9F53-6DD58BE5FE93}" type="presParOf" srcId="{CE73958C-901B-4F3D-80C5-AC329C34A76E}" destId="{E7D2F0AA-D9EB-4C14-880F-561C9D14F040}" srcOrd="0" destOrd="0" presId="urn:microsoft.com/office/officeart/2005/8/layout/lProcess2"/>
    <dgm:cxn modelId="{426CBCEC-842C-4011-A2A8-B5B5D02519FF}" type="presParOf" srcId="{CE73958C-901B-4F3D-80C5-AC329C34A76E}" destId="{FD00A339-76EA-452E-AA8B-927B90C089A9}" srcOrd="1" destOrd="0" presId="urn:microsoft.com/office/officeart/2005/8/layout/lProcess2"/>
    <dgm:cxn modelId="{A3A57BC2-5612-4381-8CDA-BFB3500718EF}" type="presParOf" srcId="{CE73958C-901B-4F3D-80C5-AC329C34A76E}" destId="{D38A896C-E035-4A0D-AEEC-C14C4F2B4E5E}" srcOrd="2" destOrd="0" presId="urn:microsoft.com/office/officeart/2005/8/layout/lProcess2"/>
    <dgm:cxn modelId="{AC5D7966-A327-4D6A-B986-3FD454A50944}" type="presParOf" srcId="{CE73958C-901B-4F3D-80C5-AC329C34A76E}" destId="{66FEF7BF-6690-4344-960F-27F3056C2782}" srcOrd="3" destOrd="0" presId="urn:microsoft.com/office/officeart/2005/8/layout/lProcess2"/>
    <dgm:cxn modelId="{E5D1110F-E87D-4FD6-8A49-225A4613A710}" type="presParOf" srcId="{CE73958C-901B-4F3D-80C5-AC329C34A76E}" destId="{AB946072-964E-46FB-B00E-B671D230A5B5}" srcOrd="4" destOrd="0" presId="urn:microsoft.com/office/officeart/2005/8/layout/lProcess2"/>
    <dgm:cxn modelId="{D7E2F82C-70FC-451C-B8FD-451CD9C4C823}" type="presParOf" srcId="{CE73958C-901B-4F3D-80C5-AC329C34A76E}" destId="{5D9839C1-CF0F-4EB7-B561-8F727D401069}" srcOrd="5" destOrd="0" presId="urn:microsoft.com/office/officeart/2005/8/layout/lProcess2"/>
    <dgm:cxn modelId="{12E5133B-46FF-40B2-9545-CE10E2CCA460}" type="presParOf" srcId="{CE73958C-901B-4F3D-80C5-AC329C34A76E}" destId="{EB482840-0DCD-403B-9815-18CD7D216535}" srcOrd="6" destOrd="0" presId="urn:microsoft.com/office/officeart/2005/8/layout/lProcess2"/>
    <dgm:cxn modelId="{354B14CF-BAB3-440B-9CE1-D5064C1961EC}" type="presParOf" srcId="{CE73958C-901B-4F3D-80C5-AC329C34A76E}" destId="{E88DE67C-ECBF-4063-AAC3-979A9C7CBD55}" srcOrd="7" destOrd="0" presId="urn:microsoft.com/office/officeart/2005/8/layout/lProcess2"/>
    <dgm:cxn modelId="{CCBC81BB-3184-4E8B-B705-BAC8C34A03E2}" type="presParOf" srcId="{CE73958C-901B-4F3D-80C5-AC329C34A76E}" destId="{684FCDCE-4758-455E-8FA5-FE278751D06B}" srcOrd="8" destOrd="0" presId="urn:microsoft.com/office/officeart/2005/8/layout/lProcess2"/>
    <dgm:cxn modelId="{91B57651-8D49-4C84-ABAE-5838DABDE361}" type="presParOf" srcId="{8BCB3AF9-CBDC-43B4-9FF9-749D373DDEBF}" destId="{2FD08A38-35C9-4248-9E4B-14BBC98DDF91}" srcOrd="1" destOrd="0" presId="urn:microsoft.com/office/officeart/2005/8/layout/lProcess2"/>
    <dgm:cxn modelId="{C8CA145D-44FD-43E5-82C7-6E84FDCB7149}" type="presParOf" srcId="{8BCB3AF9-CBDC-43B4-9FF9-749D373DDEBF}" destId="{6D6B89DE-340D-45CD-A512-88E6560C9560}" srcOrd="2" destOrd="0" presId="urn:microsoft.com/office/officeart/2005/8/layout/lProcess2"/>
    <dgm:cxn modelId="{8B596E8E-D1BE-4556-A8AF-D5C3D684673F}" type="presParOf" srcId="{6D6B89DE-340D-45CD-A512-88E6560C9560}" destId="{C96E62EC-28BD-423B-9860-1BBC16FA9872}" srcOrd="0" destOrd="0" presId="urn:microsoft.com/office/officeart/2005/8/layout/lProcess2"/>
    <dgm:cxn modelId="{A20C0D0D-1674-4182-B752-71734E0D7015}" type="presParOf" srcId="{6D6B89DE-340D-45CD-A512-88E6560C9560}" destId="{A913ED61-45C5-477E-8237-9E399B2CE0D6}" srcOrd="1" destOrd="0" presId="urn:microsoft.com/office/officeart/2005/8/layout/lProcess2"/>
    <dgm:cxn modelId="{AA6687E9-915D-4CA8-A06D-FEC3C6581352}" type="presParOf" srcId="{6D6B89DE-340D-45CD-A512-88E6560C9560}" destId="{A10AE592-F6A6-43DA-A7EC-D1F22F1A97FB}" srcOrd="2" destOrd="0" presId="urn:microsoft.com/office/officeart/2005/8/layout/lProcess2"/>
    <dgm:cxn modelId="{32402DFF-3740-4BF5-BBB1-986EDF34DBCE}" type="presParOf" srcId="{A10AE592-F6A6-43DA-A7EC-D1F22F1A97FB}" destId="{9DBEAFD5-02B9-4C0A-8170-AD117C24CEAC}" srcOrd="0" destOrd="0" presId="urn:microsoft.com/office/officeart/2005/8/layout/lProcess2"/>
    <dgm:cxn modelId="{32AFAAC9-B428-4323-9476-5540E6D4CE15}" type="presParOf" srcId="{9DBEAFD5-02B9-4C0A-8170-AD117C24CEAC}" destId="{96DE18F9-2DCE-4937-8163-D1E13AACF241}" srcOrd="0" destOrd="0" presId="urn:microsoft.com/office/officeart/2005/8/layout/lProcess2"/>
    <dgm:cxn modelId="{215C316F-0DC5-4EF4-8557-1DD7BB3FF984}" type="presParOf" srcId="{9DBEAFD5-02B9-4C0A-8170-AD117C24CEAC}" destId="{0501CECE-4BD7-4816-815D-3A93B65A13D2}" srcOrd="1" destOrd="0" presId="urn:microsoft.com/office/officeart/2005/8/layout/lProcess2"/>
    <dgm:cxn modelId="{50CFD445-7FD8-4551-8E86-FB33326FF7A4}" type="presParOf" srcId="{9DBEAFD5-02B9-4C0A-8170-AD117C24CEAC}" destId="{565D8193-B6B5-47C3-99AC-F7AC37EFDBE8}" srcOrd="2" destOrd="0" presId="urn:microsoft.com/office/officeart/2005/8/layout/lProcess2"/>
    <dgm:cxn modelId="{553D04C7-A1BD-49DF-B9D6-7BB906750D30}" type="presParOf" srcId="{9DBEAFD5-02B9-4C0A-8170-AD117C24CEAC}" destId="{2FEC8895-DA6D-4ACF-A7F2-5DFA2E819D82}" srcOrd="3" destOrd="0" presId="urn:microsoft.com/office/officeart/2005/8/layout/lProcess2"/>
    <dgm:cxn modelId="{665BF2F0-76F2-4D0E-B9C9-5CC013B8EBD8}" type="presParOf" srcId="{9DBEAFD5-02B9-4C0A-8170-AD117C24CEAC}" destId="{0FA47683-0BE1-4659-B2D3-2996F25F5931}" srcOrd="4" destOrd="0" presId="urn:microsoft.com/office/officeart/2005/8/layout/lProcess2"/>
    <dgm:cxn modelId="{BE9678F8-D677-4C0D-A606-9ECAE5DC59E8}" type="presParOf" srcId="{9DBEAFD5-02B9-4C0A-8170-AD117C24CEAC}" destId="{5CA33251-E45C-47EE-B829-599FE8E7EE07}" srcOrd="5" destOrd="0" presId="urn:microsoft.com/office/officeart/2005/8/layout/lProcess2"/>
    <dgm:cxn modelId="{2704CC77-988D-4B3F-9891-D30516D932A7}" type="presParOf" srcId="{9DBEAFD5-02B9-4C0A-8170-AD117C24CEAC}" destId="{5D0D4077-11F8-482A-9E72-54CBB6037676}" srcOrd="6" destOrd="0" presId="urn:microsoft.com/office/officeart/2005/8/layout/lProcess2"/>
    <dgm:cxn modelId="{FC12D1AE-4B58-4527-B062-74A9CA447EB9}" type="presParOf" srcId="{9DBEAFD5-02B9-4C0A-8170-AD117C24CEAC}" destId="{C5F600F8-5476-4017-BB57-C1D31A8E79C0}" srcOrd="7" destOrd="0" presId="urn:microsoft.com/office/officeart/2005/8/layout/lProcess2"/>
    <dgm:cxn modelId="{3AE9BEAA-2839-4F7C-A8D6-58C0A387F4BF}" type="presParOf" srcId="{9DBEAFD5-02B9-4C0A-8170-AD117C24CEAC}" destId="{402E758E-0AAE-4E4D-81E3-A473C031B568}" srcOrd="8" destOrd="0" presId="urn:microsoft.com/office/officeart/2005/8/layout/lProcess2"/>
    <dgm:cxn modelId="{FB887AF5-1261-4323-AC28-E5B2F03E979A}" type="presParOf" srcId="{8BCB3AF9-CBDC-43B4-9FF9-749D373DDEBF}" destId="{7E3FBB0C-9C38-452E-9097-B8B6E80EA340}" srcOrd="3" destOrd="0" presId="urn:microsoft.com/office/officeart/2005/8/layout/lProcess2"/>
    <dgm:cxn modelId="{40B31AA0-FC97-4885-B8EE-8E7AF82694C2}" type="presParOf" srcId="{8BCB3AF9-CBDC-43B4-9FF9-749D373DDEBF}" destId="{5A273DF2-6A06-4245-8F03-2855D491B529}" srcOrd="4" destOrd="0" presId="urn:microsoft.com/office/officeart/2005/8/layout/lProcess2"/>
    <dgm:cxn modelId="{CEBEFDC2-A247-46DA-937C-A45DD856AEB4}" type="presParOf" srcId="{5A273DF2-6A06-4245-8F03-2855D491B529}" destId="{7C211B65-5751-4BEB-919D-64C70DBB3D78}" srcOrd="0" destOrd="0" presId="urn:microsoft.com/office/officeart/2005/8/layout/lProcess2"/>
    <dgm:cxn modelId="{E0330EF7-28F6-4364-B944-51C4B096FA94}" type="presParOf" srcId="{5A273DF2-6A06-4245-8F03-2855D491B529}" destId="{2E26E0EB-E776-4393-BA02-2A4AAACD38DA}" srcOrd="1" destOrd="0" presId="urn:microsoft.com/office/officeart/2005/8/layout/lProcess2"/>
    <dgm:cxn modelId="{44E5EBD6-D2FF-48F9-B60E-D778E223066D}" type="presParOf" srcId="{5A273DF2-6A06-4245-8F03-2855D491B529}" destId="{6D3E706C-8074-474E-937D-1AFF3F571FB6}" srcOrd="2" destOrd="0" presId="urn:microsoft.com/office/officeart/2005/8/layout/lProcess2"/>
    <dgm:cxn modelId="{AE290270-482E-4D0D-925B-34B4C51DDB11}" type="presParOf" srcId="{6D3E706C-8074-474E-937D-1AFF3F571FB6}" destId="{AA44A115-13E0-45B8-B10E-791FA52245CA}" srcOrd="0" destOrd="0" presId="urn:microsoft.com/office/officeart/2005/8/layout/lProcess2"/>
    <dgm:cxn modelId="{96076C23-C1F2-422B-AD01-6652269EC8FE}" type="presParOf" srcId="{AA44A115-13E0-45B8-B10E-791FA52245CA}" destId="{06ECEB97-9E58-4272-AAAD-64B8D1AF7928}" srcOrd="0" destOrd="0" presId="urn:microsoft.com/office/officeart/2005/8/layout/lProcess2"/>
    <dgm:cxn modelId="{F931541B-56E8-48CB-A010-08DBB7083183}" type="presParOf" srcId="{AA44A115-13E0-45B8-B10E-791FA52245CA}" destId="{1CD96B91-F5F7-4A92-A5CD-C90149B10E34}" srcOrd="1" destOrd="0" presId="urn:microsoft.com/office/officeart/2005/8/layout/lProcess2"/>
    <dgm:cxn modelId="{37F1C2B4-CB33-46D9-9867-20C7177414A4}" type="presParOf" srcId="{AA44A115-13E0-45B8-B10E-791FA52245CA}" destId="{EF318ED2-C46A-4542-83EA-DB766FF1788B}" srcOrd="2" destOrd="0" presId="urn:microsoft.com/office/officeart/2005/8/layout/lProcess2"/>
    <dgm:cxn modelId="{38EA07C9-9640-42E1-AFC4-ED7EA2A49ABF}" type="presParOf" srcId="{AA44A115-13E0-45B8-B10E-791FA52245CA}" destId="{FE8D6C10-EA7E-4699-A093-F4BD26AE7522}" srcOrd="3" destOrd="0" presId="urn:microsoft.com/office/officeart/2005/8/layout/lProcess2"/>
    <dgm:cxn modelId="{7E5A5592-4E97-4C64-889F-A528628368CE}" type="presParOf" srcId="{AA44A115-13E0-45B8-B10E-791FA52245CA}" destId="{4FB9B4E7-D4A5-4752-B50A-B9383083D638}" srcOrd="4" destOrd="0" presId="urn:microsoft.com/office/officeart/2005/8/layout/lProcess2"/>
    <dgm:cxn modelId="{6554ADE0-689F-449C-B61C-4FF6226AB034}" type="presParOf" srcId="{AA44A115-13E0-45B8-B10E-791FA52245CA}" destId="{EC96043E-9054-4952-B5DF-59015B5C44CC}" srcOrd="5" destOrd="0" presId="urn:microsoft.com/office/officeart/2005/8/layout/lProcess2"/>
    <dgm:cxn modelId="{EE139BA5-E902-43BA-99BA-4B9B0718628C}" type="presParOf" srcId="{AA44A115-13E0-45B8-B10E-791FA52245CA}" destId="{9FB76DD2-CA04-4D0E-94FD-80DEB4F83AAF}" srcOrd="6" destOrd="0" presId="urn:microsoft.com/office/officeart/2005/8/layout/lProcess2"/>
    <dgm:cxn modelId="{7CD4F1A1-22C7-4DD0-A736-0532F18AD048}" type="presParOf" srcId="{AA44A115-13E0-45B8-B10E-791FA52245CA}" destId="{0A064DBE-D710-4229-B3D6-288B4F6D3012}" srcOrd="7" destOrd="0" presId="urn:microsoft.com/office/officeart/2005/8/layout/lProcess2"/>
    <dgm:cxn modelId="{622E94D0-BA89-4708-9376-C9BBE76A874D}" type="presParOf" srcId="{AA44A115-13E0-45B8-B10E-791FA52245CA}" destId="{C497E1DD-94FA-4F95-A288-F9E939A3669D}" srcOrd="8" destOrd="0" presId="urn:microsoft.com/office/officeart/2005/8/layout/lProcess2"/>
    <dgm:cxn modelId="{2CD36CE7-1A3C-4E7F-91B5-D146016208F7}" type="presParOf" srcId="{8BCB3AF9-CBDC-43B4-9FF9-749D373DDEBF}" destId="{DCEFAB34-1A29-4B86-81E8-9E88DD2544E6}" srcOrd="5" destOrd="0" presId="urn:microsoft.com/office/officeart/2005/8/layout/lProcess2"/>
    <dgm:cxn modelId="{F79E3B08-D2AA-4D6C-B783-0F7DA5E2D392}" type="presParOf" srcId="{8BCB3AF9-CBDC-43B4-9FF9-749D373DDEBF}" destId="{FD06A477-16DF-46BE-804D-67CFEF1972D7}" srcOrd="6" destOrd="0" presId="urn:microsoft.com/office/officeart/2005/8/layout/lProcess2"/>
    <dgm:cxn modelId="{DB8CC7CE-8209-40B4-8139-0ECCA578C0B9}" type="presParOf" srcId="{FD06A477-16DF-46BE-804D-67CFEF1972D7}" destId="{11495438-4C61-4BED-9D99-24AAEBD7D98B}" srcOrd="0" destOrd="0" presId="urn:microsoft.com/office/officeart/2005/8/layout/lProcess2"/>
    <dgm:cxn modelId="{DBB8184B-048B-4849-BEA4-4AD5D6B1C383}" type="presParOf" srcId="{FD06A477-16DF-46BE-804D-67CFEF1972D7}" destId="{38B70302-B074-49CE-8F07-A6343B6B27F3}" srcOrd="1" destOrd="0" presId="urn:microsoft.com/office/officeart/2005/8/layout/lProcess2"/>
    <dgm:cxn modelId="{48196EFF-8447-4D03-A077-56615A92AF32}" type="presParOf" srcId="{FD06A477-16DF-46BE-804D-67CFEF1972D7}" destId="{5E5B89A9-3C40-423E-B455-2BDD8FF7A207}" srcOrd="2" destOrd="0" presId="urn:microsoft.com/office/officeart/2005/8/layout/lProcess2"/>
    <dgm:cxn modelId="{9843A097-5DE4-4D87-980B-2995D59998D4}" type="presParOf" srcId="{5E5B89A9-3C40-423E-B455-2BDD8FF7A207}" destId="{59C21865-FAF4-4F63-AA17-B498D0305F98}" srcOrd="0" destOrd="0" presId="urn:microsoft.com/office/officeart/2005/8/layout/lProcess2"/>
    <dgm:cxn modelId="{289F8BB4-69F8-4025-832F-64F6BDFA0B34}" type="presParOf" srcId="{59C21865-FAF4-4F63-AA17-B498D0305F98}" destId="{8E129E1D-68C2-4DD4-A073-E245B864432D}" srcOrd="0" destOrd="0" presId="urn:microsoft.com/office/officeart/2005/8/layout/lProcess2"/>
    <dgm:cxn modelId="{1E4C97D6-4568-4BC3-8499-9A0DCDA0104D}" type="presParOf" srcId="{59C21865-FAF4-4F63-AA17-B498D0305F98}" destId="{D13A0CDB-7BE0-4E84-962A-BB4331625EF2}" srcOrd="1" destOrd="0" presId="urn:microsoft.com/office/officeart/2005/8/layout/lProcess2"/>
    <dgm:cxn modelId="{DE474F30-0888-4E31-958A-4519576F3A50}" type="presParOf" srcId="{59C21865-FAF4-4F63-AA17-B498D0305F98}" destId="{896F9CB2-8118-410D-9865-D22FE62C081A}" srcOrd="2" destOrd="0" presId="urn:microsoft.com/office/officeart/2005/8/layout/lProcess2"/>
    <dgm:cxn modelId="{0436D49E-395E-46DF-841D-26A2048ED73F}" type="presParOf" srcId="{59C21865-FAF4-4F63-AA17-B498D0305F98}" destId="{5956A079-B23F-4815-B141-68AF992F85A8}" srcOrd="3" destOrd="0" presId="urn:microsoft.com/office/officeart/2005/8/layout/lProcess2"/>
    <dgm:cxn modelId="{D33EDE5F-C882-4810-83CA-0859E87A169B}" type="presParOf" srcId="{59C21865-FAF4-4F63-AA17-B498D0305F98}" destId="{8FF8F574-28A0-4908-873D-ECC51206F5CD}" srcOrd="4" destOrd="0" presId="urn:microsoft.com/office/officeart/2005/8/layout/lProcess2"/>
    <dgm:cxn modelId="{655A6204-8142-422F-894C-86E9A85F1E8D}" type="presParOf" srcId="{59C21865-FAF4-4F63-AA17-B498D0305F98}" destId="{5768749F-875C-4FBC-9CBF-543ED3C5D68D}" srcOrd="5" destOrd="0" presId="urn:microsoft.com/office/officeart/2005/8/layout/lProcess2"/>
    <dgm:cxn modelId="{87DC3A4A-84EC-4A11-9A74-3732245FC683}" type="presParOf" srcId="{59C21865-FAF4-4F63-AA17-B498D0305F98}" destId="{48C62D5D-D73D-47B9-B5D4-C8D89C9C5E41}" srcOrd="6" destOrd="0" presId="urn:microsoft.com/office/officeart/2005/8/layout/lProcess2"/>
    <dgm:cxn modelId="{5886FE5D-F160-4FE0-BB3E-32DBB880E5C3}" type="presParOf" srcId="{59C21865-FAF4-4F63-AA17-B498D0305F98}" destId="{608E4DD0-DE61-4C0B-96CE-EE52E3CD68DD}" srcOrd="7" destOrd="0" presId="urn:microsoft.com/office/officeart/2005/8/layout/lProcess2"/>
    <dgm:cxn modelId="{7ED63DE5-67BF-40EE-AC28-18B0F651FC83}" type="presParOf" srcId="{59C21865-FAF4-4F63-AA17-B498D0305F98}" destId="{7F5B9D31-6923-4101-B00A-95121B75CFDB}" srcOrd="8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B47F6CD-1F8F-4811-863D-409863886365}" type="doc">
      <dgm:prSet loTypeId="urn:microsoft.com/office/officeart/2005/8/layout/cycle8" loCatId="cycle" qsTypeId="urn:microsoft.com/office/officeart/2005/8/quickstyle/simple1" qsCatId="simple" csTypeId="urn:microsoft.com/office/officeart/2005/8/colors/accent0_3" csCatId="mainScheme" phldr="1"/>
      <dgm:spPr/>
    </dgm:pt>
    <dgm:pt modelId="{C55E4F5B-2F4E-4CB8-A3FC-AB56EF4F3742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/>
        </a:p>
      </dgm:t>
    </dgm:pt>
    <dgm:pt modelId="{AE93AFD5-1F99-492C-913C-6013C58CA567}" type="parTrans" cxnId="{1E6BC3A9-0C0B-44A3-B0B3-4F99ED752ED3}">
      <dgm:prSet/>
      <dgm:spPr/>
      <dgm:t>
        <a:bodyPr/>
        <a:lstStyle/>
        <a:p>
          <a:endParaRPr lang="de-DE"/>
        </a:p>
      </dgm:t>
    </dgm:pt>
    <dgm:pt modelId="{A4EA5AC8-82F4-49B9-B437-6FE6C84E19E0}" type="sibTrans" cxnId="{1E6BC3A9-0C0B-44A3-B0B3-4F99ED752ED3}">
      <dgm:prSet/>
      <dgm:spPr/>
      <dgm:t>
        <a:bodyPr/>
        <a:lstStyle/>
        <a:p>
          <a:endParaRPr lang="de-DE"/>
        </a:p>
      </dgm:t>
    </dgm:pt>
    <dgm:pt modelId="{D6A0C82E-C0E7-4486-BE4F-30F13826A3E4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/>
        </a:p>
      </dgm:t>
    </dgm:pt>
    <dgm:pt modelId="{5EEB8D9A-B07E-470C-B696-CF71002D5C78}" type="parTrans" cxnId="{8600D0EE-C2FA-41C3-817B-F5FB3E320233}">
      <dgm:prSet/>
      <dgm:spPr/>
      <dgm:t>
        <a:bodyPr/>
        <a:lstStyle/>
        <a:p>
          <a:endParaRPr lang="de-DE"/>
        </a:p>
      </dgm:t>
    </dgm:pt>
    <dgm:pt modelId="{F424B58B-D87C-423E-91E4-E3F2A00F33B9}" type="sibTrans" cxnId="{8600D0EE-C2FA-41C3-817B-F5FB3E320233}">
      <dgm:prSet/>
      <dgm:spPr/>
      <dgm:t>
        <a:bodyPr/>
        <a:lstStyle/>
        <a:p>
          <a:endParaRPr lang="de-DE"/>
        </a:p>
      </dgm:t>
    </dgm:pt>
    <dgm:pt modelId="{9A908782-892F-4BF0-A856-2E93A888F893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/>
        </a:p>
      </dgm:t>
    </dgm:pt>
    <dgm:pt modelId="{8337CA38-1CA1-47F6-80FC-48ABC7FAB3C7}" type="parTrans" cxnId="{46D4CF24-2FB3-4184-9D21-DC1904F36F1B}">
      <dgm:prSet/>
      <dgm:spPr/>
      <dgm:t>
        <a:bodyPr/>
        <a:lstStyle/>
        <a:p>
          <a:endParaRPr lang="de-DE"/>
        </a:p>
      </dgm:t>
    </dgm:pt>
    <dgm:pt modelId="{8E374DF0-A147-4981-8260-918461199631}" type="sibTrans" cxnId="{46D4CF24-2FB3-4184-9D21-DC1904F36F1B}">
      <dgm:prSet/>
      <dgm:spPr/>
      <dgm:t>
        <a:bodyPr/>
        <a:lstStyle/>
        <a:p>
          <a:endParaRPr lang="de-DE"/>
        </a:p>
      </dgm:t>
    </dgm:pt>
    <dgm:pt modelId="{B95E9E4B-0875-438C-9CC7-9B2E4ED55E3B}" type="pres">
      <dgm:prSet presAssocID="{3B47F6CD-1F8F-4811-863D-409863886365}" presName="compositeShape" presStyleCnt="0">
        <dgm:presLayoutVars>
          <dgm:chMax val="7"/>
          <dgm:dir/>
          <dgm:resizeHandles val="exact"/>
        </dgm:presLayoutVars>
      </dgm:prSet>
      <dgm:spPr/>
    </dgm:pt>
    <dgm:pt modelId="{E5A3B28A-864E-4FA4-B94C-9E76EB5F7DE4}" type="pres">
      <dgm:prSet presAssocID="{3B47F6CD-1F8F-4811-863D-409863886365}" presName="wedge1" presStyleLbl="node1" presStyleIdx="0" presStyleCnt="3"/>
      <dgm:spPr/>
      <dgm:t>
        <a:bodyPr/>
        <a:lstStyle/>
        <a:p>
          <a:endParaRPr lang="de-DE"/>
        </a:p>
      </dgm:t>
    </dgm:pt>
    <dgm:pt modelId="{911362B7-EC81-486F-ADE9-BFD36A3290D6}" type="pres">
      <dgm:prSet presAssocID="{3B47F6CD-1F8F-4811-863D-409863886365}" presName="dummy1a" presStyleCnt="0"/>
      <dgm:spPr/>
    </dgm:pt>
    <dgm:pt modelId="{E430E6A4-3A7D-4B20-A31E-520AFE485474}" type="pres">
      <dgm:prSet presAssocID="{3B47F6CD-1F8F-4811-863D-409863886365}" presName="dummy1b" presStyleCnt="0"/>
      <dgm:spPr/>
    </dgm:pt>
    <dgm:pt modelId="{706594AF-C027-4360-8285-E96C7508B377}" type="pres">
      <dgm:prSet presAssocID="{3B47F6CD-1F8F-4811-863D-409863886365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95242F-52A3-419D-AF01-50DE218D0E6E}" type="pres">
      <dgm:prSet presAssocID="{3B47F6CD-1F8F-4811-863D-409863886365}" presName="wedge2" presStyleLbl="node1" presStyleIdx="1" presStyleCnt="3"/>
      <dgm:spPr/>
      <dgm:t>
        <a:bodyPr/>
        <a:lstStyle/>
        <a:p>
          <a:endParaRPr lang="de-DE"/>
        </a:p>
      </dgm:t>
    </dgm:pt>
    <dgm:pt modelId="{EB784924-E40C-4D12-A394-5275915F1CA1}" type="pres">
      <dgm:prSet presAssocID="{3B47F6CD-1F8F-4811-863D-409863886365}" presName="dummy2a" presStyleCnt="0"/>
      <dgm:spPr/>
    </dgm:pt>
    <dgm:pt modelId="{D82D922E-C4C8-4C9A-94E9-D069A9148089}" type="pres">
      <dgm:prSet presAssocID="{3B47F6CD-1F8F-4811-863D-409863886365}" presName="dummy2b" presStyleCnt="0"/>
      <dgm:spPr/>
    </dgm:pt>
    <dgm:pt modelId="{0CEFFC9C-0C45-4AE8-8ED0-35228901B5CE}" type="pres">
      <dgm:prSet presAssocID="{3B47F6CD-1F8F-4811-863D-409863886365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61CC3D9-2C20-48C1-90F2-862CA96D3D25}" type="pres">
      <dgm:prSet presAssocID="{3B47F6CD-1F8F-4811-863D-409863886365}" presName="wedge3" presStyleLbl="node1" presStyleIdx="2" presStyleCnt="3"/>
      <dgm:spPr/>
      <dgm:t>
        <a:bodyPr/>
        <a:lstStyle/>
        <a:p>
          <a:endParaRPr lang="de-DE"/>
        </a:p>
      </dgm:t>
    </dgm:pt>
    <dgm:pt modelId="{13F21438-CA12-44F7-9E3D-8B5A68C746D0}" type="pres">
      <dgm:prSet presAssocID="{3B47F6CD-1F8F-4811-863D-409863886365}" presName="dummy3a" presStyleCnt="0"/>
      <dgm:spPr/>
    </dgm:pt>
    <dgm:pt modelId="{EFA17A56-9185-4CEF-998F-F43C56901712}" type="pres">
      <dgm:prSet presAssocID="{3B47F6CD-1F8F-4811-863D-409863886365}" presName="dummy3b" presStyleCnt="0"/>
      <dgm:spPr/>
    </dgm:pt>
    <dgm:pt modelId="{BBCFBFD3-9739-4240-9CB1-97A53F0C290C}" type="pres">
      <dgm:prSet presAssocID="{3B47F6CD-1F8F-4811-863D-409863886365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86716D3-9E01-4B1F-B3ED-00FCFC92F2C6}" type="pres">
      <dgm:prSet presAssocID="{A4EA5AC8-82F4-49B9-B437-6FE6C84E19E0}" presName="arrowWedge1" presStyleLbl="fgSibTrans2D1" presStyleIdx="0" presStyleCnt="3"/>
      <dgm:spPr>
        <a:solidFill>
          <a:schemeClr val="bg2"/>
        </a:solidFill>
      </dgm:spPr>
    </dgm:pt>
    <dgm:pt modelId="{26266FB6-5E72-4ACE-BADC-9151A3FBAB94}" type="pres">
      <dgm:prSet presAssocID="{F424B58B-D87C-423E-91E4-E3F2A00F33B9}" presName="arrowWedge2" presStyleLbl="fgSibTrans2D1" presStyleIdx="1" presStyleCnt="3"/>
      <dgm:spPr>
        <a:solidFill>
          <a:schemeClr val="bg2"/>
        </a:solidFill>
      </dgm:spPr>
    </dgm:pt>
    <dgm:pt modelId="{0F7AE738-82E9-4591-99BF-49663DF25FEB}" type="pres">
      <dgm:prSet presAssocID="{8E374DF0-A147-4981-8260-918461199631}" presName="arrowWedge3" presStyleLbl="fgSibTrans2D1" presStyleIdx="2" presStyleCnt="3"/>
      <dgm:spPr>
        <a:solidFill>
          <a:schemeClr val="bg2"/>
        </a:solidFill>
      </dgm:spPr>
    </dgm:pt>
  </dgm:ptLst>
  <dgm:cxnLst>
    <dgm:cxn modelId="{FBE852AA-53BB-4940-8728-04E2E99F68E5}" type="presOf" srcId="{3B47F6CD-1F8F-4811-863D-409863886365}" destId="{B95E9E4B-0875-438C-9CC7-9B2E4ED55E3B}" srcOrd="0" destOrd="0" presId="urn:microsoft.com/office/officeart/2005/8/layout/cycle8"/>
    <dgm:cxn modelId="{3CB648CF-4952-4374-A9C7-DE8877020403}" type="presOf" srcId="{C55E4F5B-2F4E-4CB8-A3FC-AB56EF4F3742}" destId="{E5A3B28A-864E-4FA4-B94C-9E76EB5F7DE4}" srcOrd="0" destOrd="0" presId="urn:microsoft.com/office/officeart/2005/8/layout/cycle8"/>
    <dgm:cxn modelId="{51AB48A1-099E-432B-9BCD-E1750EC21B5B}" type="presOf" srcId="{D6A0C82E-C0E7-4486-BE4F-30F13826A3E4}" destId="{0CEFFC9C-0C45-4AE8-8ED0-35228901B5CE}" srcOrd="1" destOrd="0" presId="urn:microsoft.com/office/officeart/2005/8/layout/cycle8"/>
    <dgm:cxn modelId="{1E6BC3A9-0C0B-44A3-B0B3-4F99ED752ED3}" srcId="{3B47F6CD-1F8F-4811-863D-409863886365}" destId="{C55E4F5B-2F4E-4CB8-A3FC-AB56EF4F3742}" srcOrd="0" destOrd="0" parTransId="{AE93AFD5-1F99-492C-913C-6013C58CA567}" sibTransId="{A4EA5AC8-82F4-49B9-B437-6FE6C84E19E0}"/>
    <dgm:cxn modelId="{B45F4FF1-79AC-49F8-80DD-49B508D1AF8D}" type="presOf" srcId="{9A908782-892F-4BF0-A856-2E93A888F893}" destId="{961CC3D9-2C20-48C1-90F2-862CA96D3D25}" srcOrd="0" destOrd="0" presId="urn:microsoft.com/office/officeart/2005/8/layout/cycle8"/>
    <dgm:cxn modelId="{74ACB25C-4E87-4ECD-B530-2C5F3355D0CF}" type="presOf" srcId="{9A908782-892F-4BF0-A856-2E93A888F893}" destId="{BBCFBFD3-9739-4240-9CB1-97A53F0C290C}" srcOrd="1" destOrd="0" presId="urn:microsoft.com/office/officeart/2005/8/layout/cycle8"/>
    <dgm:cxn modelId="{6C26D350-EA4A-4B42-9D0F-E8584897069A}" type="presOf" srcId="{D6A0C82E-C0E7-4486-BE4F-30F13826A3E4}" destId="{A195242F-52A3-419D-AF01-50DE218D0E6E}" srcOrd="0" destOrd="0" presId="urn:microsoft.com/office/officeart/2005/8/layout/cycle8"/>
    <dgm:cxn modelId="{08BA4ABF-26DD-4624-B81E-44CBAE46384D}" type="presOf" srcId="{C55E4F5B-2F4E-4CB8-A3FC-AB56EF4F3742}" destId="{706594AF-C027-4360-8285-E96C7508B377}" srcOrd="1" destOrd="0" presId="urn:microsoft.com/office/officeart/2005/8/layout/cycle8"/>
    <dgm:cxn modelId="{46D4CF24-2FB3-4184-9D21-DC1904F36F1B}" srcId="{3B47F6CD-1F8F-4811-863D-409863886365}" destId="{9A908782-892F-4BF0-A856-2E93A888F893}" srcOrd="2" destOrd="0" parTransId="{8337CA38-1CA1-47F6-80FC-48ABC7FAB3C7}" sibTransId="{8E374DF0-A147-4981-8260-918461199631}"/>
    <dgm:cxn modelId="{8600D0EE-C2FA-41C3-817B-F5FB3E320233}" srcId="{3B47F6CD-1F8F-4811-863D-409863886365}" destId="{D6A0C82E-C0E7-4486-BE4F-30F13826A3E4}" srcOrd="1" destOrd="0" parTransId="{5EEB8D9A-B07E-470C-B696-CF71002D5C78}" sibTransId="{F424B58B-D87C-423E-91E4-E3F2A00F33B9}"/>
    <dgm:cxn modelId="{D56F5814-C602-467C-8CE3-2F2114FCE6E3}" type="presParOf" srcId="{B95E9E4B-0875-438C-9CC7-9B2E4ED55E3B}" destId="{E5A3B28A-864E-4FA4-B94C-9E76EB5F7DE4}" srcOrd="0" destOrd="0" presId="urn:microsoft.com/office/officeart/2005/8/layout/cycle8"/>
    <dgm:cxn modelId="{6D1A292A-DEAB-4EB4-905F-DCFF874BDBD2}" type="presParOf" srcId="{B95E9E4B-0875-438C-9CC7-9B2E4ED55E3B}" destId="{911362B7-EC81-486F-ADE9-BFD36A3290D6}" srcOrd="1" destOrd="0" presId="urn:microsoft.com/office/officeart/2005/8/layout/cycle8"/>
    <dgm:cxn modelId="{82A93914-F6C8-4354-9B4F-2C2609B9145F}" type="presParOf" srcId="{B95E9E4B-0875-438C-9CC7-9B2E4ED55E3B}" destId="{E430E6A4-3A7D-4B20-A31E-520AFE485474}" srcOrd="2" destOrd="0" presId="urn:microsoft.com/office/officeart/2005/8/layout/cycle8"/>
    <dgm:cxn modelId="{70A9063F-818C-4725-893B-C471D87D9AD1}" type="presParOf" srcId="{B95E9E4B-0875-438C-9CC7-9B2E4ED55E3B}" destId="{706594AF-C027-4360-8285-E96C7508B377}" srcOrd="3" destOrd="0" presId="urn:microsoft.com/office/officeart/2005/8/layout/cycle8"/>
    <dgm:cxn modelId="{1599C78D-103E-4C7F-892C-B8A355ED19D8}" type="presParOf" srcId="{B95E9E4B-0875-438C-9CC7-9B2E4ED55E3B}" destId="{A195242F-52A3-419D-AF01-50DE218D0E6E}" srcOrd="4" destOrd="0" presId="urn:microsoft.com/office/officeart/2005/8/layout/cycle8"/>
    <dgm:cxn modelId="{7F9081C1-3452-4BAD-B8CF-7B79A31D67B2}" type="presParOf" srcId="{B95E9E4B-0875-438C-9CC7-9B2E4ED55E3B}" destId="{EB784924-E40C-4D12-A394-5275915F1CA1}" srcOrd="5" destOrd="0" presId="urn:microsoft.com/office/officeart/2005/8/layout/cycle8"/>
    <dgm:cxn modelId="{ABE19D23-7F86-4373-858F-38E993C94150}" type="presParOf" srcId="{B95E9E4B-0875-438C-9CC7-9B2E4ED55E3B}" destId="{D82D922E-C4C8-4C9A-94E9-D069A9148089}" srcOrd="6" destOrd="0" presId="urn:microsoft.com/office/officeart/2005/8/layout/cycle8"/>
    <dgm:cxn modelId="{C931656B-020F-4BEA-B555-518B34FDCDA9}" type="presParOf" srcId="{B95E9E4B-0875-438C-9CC7-9B2E4ED55E3B}" destId="{0CEFFC9C-0C45-4AE8-8ED0-35228901B5CE}" srcOrd="7" destOrd="0" presId="urn:microsoft.com/office/officeart/2005/8/layout/cycle8"/>
    <dgm:cxn modelId="{6F3032E7-3E3C-419B-9BD7-FC49BEC8FB36}" type="presParOf" srcId="{B95E9E4B-0875-438C-9CC7-9B2E4ED55E3B}" destId="{961CC3D9-2C20-48C1-90F2-862CA96D3D25}" srcOrd="8" destOrd="0" presId="urn:microsoft.com/office/officeart/2005/8/layout/cycle8"/>
    <dgm:cxn modelId="{CCBCB3A0-B486-4379-B381-3E3781A12977}" type="presParOf" srcId="{B95E9E4B-0875-438C-9CC7-9B2E4ED55E3B}" destId="{13F21438-CA12-44F7-9E3D-8B5A68C746D0}" srcOrd="9" destOrd="0" presId="urn:microsoft.com/office/officeart/2005/8/layout/cycle8"/>
    <dgm:cxn modelId="{4A0B4DC3-DE51-49E6-AB75-CFD1FB38CDE0}" type="presParOf" srcId="{B95E9E4B-0875-438C-9CC7-9B2E4ED55E3B}" destId="{EFA17A56-9185-4CEF-998F-F43C56901712}" srcOrd="10" destOrd="0" presId="urn:microsoft.com/office/officeart/2005/8/layout/cycle8"/>
    <dgm:cxn modelId="{17D77E3A-A579-4A06-9D22-BCEB505F57D1}" type="presParOf" srcId="{B95E9E4B-0875-438C-9CC7-9B2E4ED55E3B}" destId="{BBCFBFD3-9739-4240-9CB1-97A53F0C290C}" srcOrd="11" destOrd="0" presId="urn:microsoft.com/office/officeart/2005/8/layout/cycle8"/>
    <dgm:cxn modelId="{F74F7773-72CB-4FE5-AB87-3134BD5F72D4}" type="presParOf" srcId="{B95E9E4B-0875-438C-9CC7-9B2E4ED55E3B}" destId="{886716D3-9E01-4B1F-B3ED-00FCFC92F2C6}" srcOrd="12" destOrd="0" presId="urn:microsoft.com/office/officeart/2005/8/layout/cycle8"/>
    <dgm:cxn modelId="{971F4187-D494-405B-A538-B733C135C681}" type="presParOf" srcId="{B95E9E4B-0875-438C-9CC7-9B2E4ED55E3B}" destId="{26266FB6-5E72-4ACE-BADC-9151A3FBAB94}" srcOrd="13" destOrd="0" presId="urn:microsoft.com/office/officeart/2005/8/layout/cycle8"/>
    <dgm:cxn modelId="{0A311D04-A3AA-4339-9F72-535C79DAE7C2}" type="presParOf" srcId="{B95E9E4B-0875-438C-9CC7-9B2E4ED55E3B}" destId="{0F7AE738-82E9-4591-99BF-49663DF25FEB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25CFA43-981F-488C-9D5E-112F3C34D316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7413CA9-C7A6-498F-AF48-6CEEF9AF7290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4A94CE10-E283-4DEE-A03D-601895D65F62}" type="parTrans" cxnId="{5A266732-6A28-44C5-8E19-87602D1D374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2B142242-1000-4F3F-AE36-5A7544D3BFE1}" type="sibTrans" cxnId="{5A266732-6A28-44C5-8E19-87602D1D374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C45A737A-98AB-4612-B5B7-A4953F781896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BB6C0D74-CF91-4C40-99C9-80242939D94B}" type="parTrans" cxnId="{4DE045FB-6676-4A34-9277-C51324D9AD6C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9A829E39-E546-4E85-AD09-9B025928D61C}" type="sibTrans" cxnId="{4DE045FB-6676-4A34-9277-C51324D9AD6C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511EB033-ABB5-4658-A398-F8E870067EE1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00867D5E-BC81-4713-8AE9-3D8521C664E1}" type="parTrans" cxnId="{C7CCC25D-8E3E-45CF-87D7-C02909221A45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01068CB0-E2DF-42E9-AAF6-0A0EE566ED35}" type="sibTrans" cxnId="{C7CCC25D-8E3E-45CF-87D7-C02909221A45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A61EE3DF-80E6-45AB-A24E-3D4970F85B1F}">
      <dgm:prSet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4F1313B4-D268-4B18-A4F8-176A834F2AB8}" type="parTrans" cxnId="{BB234914-A301-41B0-8C15-8ACCBC3478F9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495C58DF-B64F-4DE7-8ADF-8BCAA7E5681C}" type="sibTrans" cxnId="{BB234914-A301-41B0-8C15-8ACCBC3478F9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32E72359-B7BD-4C05-B730-C0BA14B47F1A}">
      <dgm:prSet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6D6D91EC-0564-47B9-9B19-4D4CDEC99810}" type="parTrans" cxnId="{F77602F7-E09D-449A-880D-453F684A95D0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B7D4B46-89D0-41E2-9BA5-C30904EB1C77}" type="sibTrans" cxnId="{F77602F7-E09D-449A-880D-453F684A95D0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06133C7E-2958-48BF-9FBE-DE37EAFCFB2A}">
      <dgm:prSet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500" b="1" dirty="0" smtClean="0">
              <a:solidFill>
                <a:schemeClr val="bg1"/>
              </a:solidFill>
            </a:rPr>
            <a:t>Text</a:t>
          </a:r>
          <a:endParaRPr lang="de-DE" sz="2500" b="1" dirty="0">
            <a:solidFill>
              <a:schemeClr val="bg1"/>
            </a:solidFill>
          </a:endParaRPr>
        </a:p>
      </dgm:t>
    </dgm:pt>
    <dgm:pt modelId="{D428CC47-DF3E-4578-909A-6899405210D1}" type="parTrans" cxnId="{78002671-10B6-453F-BCF8-3C36526D1ECE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AC5F2C6D-748D-41DC-9BDF-0A741799F8FE}" type="sibTrans" cxnId="{78002671-10B6-453F-BCF8-3C36526D1ECE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1695037-4AA1-4051-B337-3E202A9819C6}" type="pres">
      <dgm:prSet presAssocID="{925CFA43-981F-488C-9D5E-112F3C34D316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FF7F1A4-8FF0-4C02-A1BB-BACD7B6939ED}" type="pres">
      <dgm:prSet presAssocID="{925CFA43-981F-488C-9D5E-112F3C34D316}" presName="wedge1" presStyleLbl="node1" presStyleIdx="0" presStyleCnt="6"/>
      <dgm:spPr/>
      <dgm:t>
        <a:bodyPr/>
        <a:lstStyle/>
        <a:p>
          <a:endParaRPr lang="de-DE"/>
        </a:p>
      </dgm:t>
    </dgm:pt>
    <dgm:pt modelId="{01ECF5A0-5E5F-4CEF-8855-1D24B645E1D2}" type="pres">
      <dgm:prSet presAssocID="{925CFA43-981F-488C-9D5E-112F3C34D316}" presName="dummy1a" presStyleCnt="0"/>
      <dgm:spPr/>
    </dgm:pt>
    <dgm:pt modelId="{27571D92-102E-4BDE-923A-AFF754FFC173}" type="pres">
      <dgm:prSet presAssocID="{925CFA43-981F-488C-9D5E-112F3C34D316}" presName="dummy1b" presStyleCnt="0"/>
      <dgm:spPr/>
    </dgm:pt>
    <dgm:pt modelId="{9E3D3406-0C14-44A1-BB12-63E38F49FFBB}" type="pres">
      <dgm:prSet presAssocID="{925CFA43-981F-488C-9D5E-112F3C34D316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4947347-F23C-405F-A9D2-63E618A9DE8E}" type="pres">
      <dgm:prSet presAssocID="{925CFA43-981F-488C-9D5E-112F3C34D316}" presName="wedge2" presStyleLbl="node1" presStyleIdx="1" presStyleCnt="6"/>
      <dgm:spPr/>
      <dgm:t>
        <a:bodyPr/>
        <a:lstStyle/>
        <a:p>
          <a:endParaRPr lang="de-DE"/>
        </a:p>
      </dgm:t>
    </dgm:pt>
    <dgm:pt modelId="{82077141-C753-4A5D-963E-7AC3C5E90CD7}" type="pres">
      <dgm:prSet presAssocID="{925CFA43-981F-488C-9D5E-112F3C34D316}" presName="dummy2a" presStyleCnt="0"/>
      <dgm:spPr/>
    </dgm:pt>
    <dgm:pt modelId="{78CD0E8F-C919-436F-B2C2-AE2140A6546C}" type="pres">
      <dgm:prSet presAssocID="{925CFA43-981F-488C-9D5E-112F3C34D316}" presName="dummy2b" presStyleCnt="0"/>
      <dgm:spPr/>
    </dgm:pt>
    <dgm:pt modelId="{313903D7-6B42-4A34-AC95-7371C6D0FD0A}" type="pres">
      <dgm:prSet presAssocID="{925CFA43-981F-488C-9D5E-112F3C34D316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0C8B7AA-2A2F-4830-8EC2-EDC04EC0ECF4}" type="pres">
      <dgm:prSet presAssocID="{925CFA43-981F-488C-9D5E-112F3C34D316}" presName="wedge3" presStyleLbl="node1" presStyleIdx="2" presStyleCnt="6"/>
      <dgm:spPr/>
      <dgm:t>
        <a:bodyPr/>
        <a:lstStyle/>
        <a:p>
          <a:endParaRPr lang="de-DE"/>
        </a:p>
      </dgm:t>
    </dgm:pt>
    <dgm:pt modelId="{D5AADE0A-02FF-4FFE-B786-042814B1CE9B}" type="pres">
      <dgm:prSet presAssocID="{925CFA43-981F-488C-9D5E-112F3C34D316}" presName="dummy3a" presStyleCnt="0"/>
      <dgm:spPr/>
    </dgm:pt>
    <dgm:pt modelId="{25C30C71-7086-4292-8A69-EA62FAF25249}" type="pres">
      <dgm:prSet presAssocID="{925CFA43-981F-488C-9D5E-112F3C34D316}" presName="dummy3b" presStyleCnt="0"/>
      <dgm:spPr/>
    </dgm:pt>
    <dgm:pt modelId="{56DBEE53-3DF8-4DD1-86E8-F0E6634FCB92}" type="pres">
      <dgm:prSet presAssocID="{925CFA43-981F-488C-9D5E-112F3C34D316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E357C4-83D0-4412-BBCB-628025E25FDD}" type="pres">
      <dgm:prSet presAssocID="{925CFA43-981F-488C-9D5E-112F3C34D316}" presName="wedge4" presStyleLbl="node1" presStyleIdx="3" presStyleCnt="6"/>
      <dgm:spPr/>
      <dgm:t>
        <a:bodyPr/>
        <a:lstStyle/>
        <a:p>
          <a:endParaRPr lang="de-DE"/>
        </a:p>
      </dgm:t>
    </dgm:pt>
    <dgm:pt modelId="{09D315C2-A0B2-4934-826E-FF7DF803D5BF}" type="pres">
      <dgm:prSet presAssocID="{925CFA43-981F-488C-9D5E-112F3C34D316}" presName="dummy4a" presStyleCnt="0"/>
      <dgm:spPr/>
    </dgm:pt>
    <dgm:pt modelId="{5EA79CEF-BC50-4CBB-B02F-C052E40241B5}" type="pres">
      <dgm:prSet presAssocID="{925CFA43-981F-488C-9D5E-112F3C34D316}" presName="dummy4b" presStyleCnt="0"/>
      <dgm:spPr/>
    </dgm:pt>
    <dgm:pt modelId="{7A1F9D95-D994-4FE4-A198-F8BE8C617CFA}" type="pres">
      <dgm:prSet presAssocID="{925CFA43-981F-488C-9D5E-112F3C34D316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1BAF5-754B-46B7-9CEE-FDBB42AF8EFF}" type="pres">
      <dgm:prSet presAssocID="{925CFA43-981F-488C-9D5E-112F3C34D316}" presName="wedge5" presStyleLbl="node1" presStyleIdx="4" presStyleCnt="6"/>
      <dgm:spPr/>
      <dgm:t>
        <a:bodyPr/>
        <a:lstStyle/>
        <a:p>
          <a:endParaRPr lang="de-DE"/>
        </a:p>
      </dgm:t>
    </dgm:pt>
    <dgm:pt modelId="{BFC6B8A5-EDEB-4A87-AA49-79F18C2166C9}" type="pres">
      <dgm:prSet presAssocID="{925CFA43-981F-488C-9D5E-112F3C34D316}" presName="dummy5a" presStyleCnt="0"/>
      <dgm:spPr/>
    </dgm:pt>
    <dgm:pt modelId="{74D8C316-4F0C-408B-A045-78929B3A0447}" type="pres">
      <dgm:prSet presAssocID="{925CFA43-981F-488C-9D5E-112F3C34D316}" presName="dummy5b" presStyleCnt="0"/>
      <dgm:spPr/>
    </dgm:pt>
    <dgm:pt modelId="{F84F42F2-D6E4-4E6E-A54B-374CF4A287C6}" type="pres">
      <dgm:prSet presAssocID="{925CFA43-981F-488C-9D5E-112F3C34D316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996F38F-2A13-4989-9374-B375F48FBD48}" type="pres">
      <dgm:prSet presAssocID="{925CFA43-981F-488C-9D5E-112F3C34D316}" presName="wedge6" presStyleLbl="node1" presStyleIdx="5" presStyleCnt="6"/>
      <dgm:spPr/>
      <dgm:t>
        <a:bodyPr/>
        <a:lstStyle/>
        <a:p>
          <a:endParaRPr lang="de-DE"/>
        </a:p>
      </dgm:t>
    </dgm:pt>
    <dgm:pt modelId="{2C7BE3D2-23F9-4DCE-9980-3C977A825A9B}" type="pres">
      <dgm:prSet presAssocID="{925CFA43-981F-488C-9D5E-112F3C34D316}" presName="dummy6a" presStyleCnt="0"/>
      <dgm:spPr/>
    </dgm:pt>
    <dgm:pt modelId="{77C80EE2-B72D-4ADF-8122-184AA8D5DBE6}" type="pres">
      <dgm:prSet presAssocID="{925CFA43-981F-488C-9D5E-112F3C34D316}" presName="dummy6b" presStyleCnt="0"/>
      <dgm:spPr/>
    </dgm:pt>
    <dgm:pt modelId="{E3B43ADE-9503-483B-AE9E-DF98F9C7FC9D}" type="pres">
      <dgm:prSet presAssocID="{925CFA43-981F-488C-9D5E-112F3C34D316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13ADEFA-9726-4101-A8AB-FDF078D4433A}" type="pres">
      <dgm:prSet presAssocID="{2B142242-1000-4F3F-AE36-5A7544D3BFE1}" presName="arrowWedge1" presStyleLbl="fgSibTrans2D1" presStyleIdx="0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  <dgm:pt modelId="{BBAC05DC-D8D1-4B57-8DF5-8D83D79DCACF}" type="pres">
      <dgm:prSet presAssocID="{9A829E39-E546-4E85-AD09-9B025928D61C}" presName="arrowWedge2" presStyleLbl="fgSibTrans2D1" presStyleIdx="1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  <dgm:pt modelId="{9673A5C9-1E19-43A4-8F47-77A2BA6F511E}" type="pres">
      <dgm:prSet presAssocID="{01068CB0-E2DF-42E9-AAF6-0A0EE566ED35}" presName="arrowWedge3" presStyleLbl="fgSibTrans2D1" presStyleIdx="2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  <dgm:pt modelId="{D5CE4064-FFFD-4A51-9F1E-C3BE04400F16}" type="pres">
      <dgm:prSet presAssocID="{495C58DF-B64F-4DE7-8ADF-8BCAA7E5681C}" presName="arrowWedge4" presStyleLbl="fgSibTrans2D1" presStyleIdx="3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  <dgm:pt modelId="{6A13EF87-3A57-4236-9C31-AD1936D3868F}" type="pres">
      <dgm:prSet presAssocID="{FB7D4B46-89D0-41E2-9BA5-C30904EB1C77}" presName="arrowWedge5" presStyleLbl="fgSibTrans2D1" presStyleIdx="4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  <dgm:pt modelId="{E9D82F76-F0D3-439E-BAE5-7C0D5DE22FCD}" type="pres">
      <dgm:prSet presAssocID="{AC5F2C6D-748D-41DC-9BDF-0A741799F8FE}" presName="arrowWedge6" presStyleLbl="fgSibTrans2D1" presStyleIdx="5" presStyleCnt="6"/>
      <dgm:spPr>
        <a:solidFill>
          <a:schemeClr val="bg2"/>
        </a:solidFill>
      </dgm:spPr>
      <dgm:t>
        <a:bodyPr/>
        <a:lstStyle/>
        <a:p>
          <a:endParaRPr lang="de-DE"/>
        </a:p>
      </dgm:t>
    </dgm:pt>
  </dgm:ptLst>
  <dgm:cxnLst>
    <dgm:cxn modelId="{01DA2BD2-5728-4A0B-A5FB-FD71D6C7FBD0}" type="presOf" srcId="{C45A737A-98AB-4612-B5B7-A4953F781896}" destId="{74947347-F23C-405F-A9D2-63E618A9DE8E}" srcOrd="0" destOrd="0" presId="urn:microsoft.com/office/officeart/2005/8/layout/cycle8"/>
    <dgm:cxn modelId="{5575BF2A-512C-41C1-AE03-2CEA22E0A1AE}" type="presOf" srcId="{32E72359-B7BD-4C05-B730-C0BA14B47F1A}" destId="{2FF1BAF5-754B-46B7-9CEE-FDBB42AF8EFF}" srcOrd="0" destOrd="0" presId="urn:microsoft.com/office/officeart/2005/8/layout/cycle8"/>
    <dgm:cxn modelId="{F77602F7-E09D-449A-880D-453F684A95D0}" srcId="{925CFA43-981F-488C-9D5E-112F3C34D316}" destId="{32E72359-B7BD-4C05-B730-C0BA14B47F1A}" srcOrd="4" destOrd="0" parTransId="{6D6D91EC-0564-47B9-9B19-4D4CDEC99810}" sibTransId="{FB7D4B46-89D0-41E2-9BA5-C30904EB1C77}"/>
    <dgm:cxn modelId="{5A266732-6A28-44C5-8E19-87602D1D3746}" srcId="{925CFA43-981F-488C-9D5E-112F3C34D316}" destId="{77413CA9-C7A6-498F-AF48-6CEEF9AF7290}" srcOrd="0" destOrd="0" parTransId="{4A94CE10-E283-4DEE-A03D-601895D65F62}" sibTransId="{2B142242-1000-4F3F-AE36-5A7544D3BFE1}"/>
    <dgm:cxn modelId="{2DECE363-C963-4A18-BA22-722BF9B146E5}" type="presOf" srcId="{32E72359-B7BD-4C05-B730-C0BA14B47F1A}" destId="{F84F42F2-D6E4-4E6E-A54B-374CF4A287C6}" srcOrd="1" destOrd="0" presId="urn:microsoft.com/office/officeart/2005/8/layout/cycle8"/>
    <dgm:cxn modelId="{78002671-10B6-453F-BCF8-3C36526D1ECE}" srcId="{925CFA43-981F-488C-9D5E-112F3C34D316}" destId="{06133C7E-2958-48BF-9FBE-DE37EAFCFB2A}" srcOrd="5" destOrd="0" parTransId="{D428CC47-DF3E-4578-909A-6899405210D1}" sibTransId="{AC5F2C6D-748D-41DC-9BDF-0A741799F8FE}"/>
    <dgm:cxn modelId="{FD3BAFC6-0C1B-4525-9385-D32D1FE5A4F7}" type="presOf" srcId="{06133C7E-2958-48BF-9FBE-DE37EAFCFB2A}" destId="{E3B43ADE-9503-483B-AE9E-DF98F9C7FC9D}" srcOrd="1" destOrd="0" presId="urn:microsoft.com/office/officeart/2005/8/layout/cycle8"/>
    <dgm:cxn modelId="{C63576EA-073E-47AA-85E7-1139E997A7DD}" type="presOf" srcId="{511EB033-ABB5-4658-A398-F8E870067EE1}" destId="{56DBEE53-3DF8-4DD1-86E8-F0E6634FCB92}" srcOrd="1" destOrd="0" presId="urn:microsoft.com/office/officeart/2005/8/layout/cycle8"/>
    <dgm:cxn modelId="{C2174472-4712-445E-8491-FE95F31FEE87}" type="presOf" srcId="{77413CA9-C7A6-498F-AF48-6CEEF9AF7290}" destId="{9E3D3406-0C14-44A1-BB12-63E38F49FFBB}" srcOrd="1" destOrd="0" presId="urn:microsoft.com/office/officeart/2005/8/layout/cycle8"/>
    <dgm:cxn modelId="{53F1EA37-FC69-4595-B8F0-00557C2A3A1C}" type="presOf" srcId="{A61EE3DF-80E6-45AB-A24E-3D4970F85B1F}" destId="{7A1F9D95-D994-4FE4-A198-F8BE8C617CFA}" srcOrd="1" destOrd="0" presId="urn:microsoft.com/office/officeart/2005/8/layout/cycle8"/>
    <dgm:cxn modelId="{BB234914-A301-41B0-8C15-8ACCBC3478F9}" srcId="{925CFA43-981F-488C-9D5E-112F3C34D316}" destId="{A61EE3DF-80E6-45AB-A24E-3D4970F85B1F}" srcOrd="3" destOrd="0" parTransId="{4F1313B4-D268-4B18-A4F8-176A834F2AB8}" sibTransId="{495C58DF-B64F-4DE7-8ADF-8BCAA7E5681C}"/>
    <dgm:cxn modelId="{41E32637-BEC0-4560-9313-68718E09F71C}" type="presOf" srcId="{06133C7E-2958-48BF-9FBE-DE37EAFCFB2A}" destId="{F996F38F-2A13-4989-9374-B375F48FBD48}" srcOrd="0" destOrd="0" presId="urn:microsoft.com/office/officeart/2005/8/layout/cycle8"/>
    <dgm:cxn modelId="{54EC5B10-8E15-40B9-B430-C59DD396AD67}" type="presOf" srcId="{511EB033-ABB5-4658-A398-F8E870067EE1}" destId="{B0C8B7AA-2A2F-4830-8EC2-EDC04EC0ECF4}" srcOrd="0" destOrd="0" presId="urn:microsoft.com/office/officeart/2005/8/layout/cycle8"/>
    <dgm:cxn modelId="{C8EF4B97-6904-41DE-AD0D-9DCA5E0D6F3B}" type="presOf" srcId="{925CFA43-981F-488C-9D5E-112F3C34D316}" destId="{11695037-4AA1-4051-B337-3E202A9819C6}" srcOrd="0" destOrd="0" presId="urn:microsoft.com/office/officeart/2005/8/layout/cycle8"/>
    <dgm:cxn modelId="{4DE045FB-6676-4A34-9277-C51324D9AD6C}" srcId="{925CFA43-981F-488C-9D5E-112F3C34D316}" destId="{C45A737A-98AB-4612-B5B7-A4953F781896}" srcOrd="1" destOrd="0" parTransId="{BB6C0D74-CF91-4C40-99C9-80242939D94B}" sibTransId="{9A829E39-E546-4E85-AD09-9B025928D61C}"/>
    <dgm:cxn modelId="{5FCF3D9D-AFE0-422C-A438-03535858A848}" type="presOf" srcId="{77413CA9-C7A6-498F-AF48-6CEEF9AF7290}" destId="{AFF7F1A4-8FF0-4C02-A1BB-BACD7B6939ED}" srcOrd="0" destOrd="0" presId="urn:microsoft.com/office/officeart/2005/8/layout/cycle8"/>
    <dgm:cxn modelId="{C7CCC25D-8E3E-45CF-87D7-C02909221A45}" srcId="{925CFA43-981F-488C-9D5E-112F3C34D316}" destId="{511EB033-ABB5-4658-A398-F8E870067EE1}" srcOrd="2" destOrd="0" parTransId="{00867D5E-BC81-4713-8AE9-3D8521C664E1}" sibTransId="{01068CB0-E2DF-42E9-AAF6-0A0EE566ED35}"/>
    <dgm:cxn modelId="{42CFC515-67B4-420F-9E20-CA7E59A9944B}" type="presOf" srcId="{C45A737A-98AB-4612-B5B7-A4953F781896}" destId="{313903D7-6B42-4A34-AC95-7371C6D0FD0A}" srcOrd="1" destOrd="0" presId="urn:microsoft.com/office/officeart/2005/8/layout/cycle8"/>
    <dgm:cxn modelId="{C93AC5F9-7376-4E03-AC79-5DC10CE10F5E}" type="presOf" srcId="{A61EE3DF-80E6-45AB-A24E-3D4970F85B1F}" destId="{77E357C4-83D0-4412-BBCB-628025E25FDD}" srcOrd="0" destOrd="0" presId="urn:microsoft.com/office/officeart/2005/8/layout/cycle8"/>
    <dgm:cxn modelId="{0AA3E9A9-611A-476D-A469-8321A3B18BFD}" type="presParOf" srcId="{11695037-4AA1-4051-B337-3E202A9819C6}" destId="{AFF7F1A4-8FF0-4C02-A1BB-BACD7B6939ED}" srcOrd="0" destOrd="0" presId="urn:microsoft.com/office/officeart/2005/8/layout/cycle8"/>
    <dgm:cxn modelId="{D716704F-E89C-4A9B-83C4-BE2A4A5847AC}" type="presParOf" srcId="{11695037-4AA1-4051-B337-3E202A9819C6}" destId="{01ECF5A0-5E5F-4CEF-8855-1D24B645E1D2}" srcOrd="1" destOrd="0" presId="urn:microsoft.com/office/officeart/2005/8/layout/cycle8"/>
    <dgm:cxn modelId="{53B3A4D4-28DD-402D-89D6-D36DA7E68D58}" type="presParOf" srcId="{11695037-4AA1-4051-B337-3E202A9819C6}" destId="{27571D92-102E-4BDE-923A-AFF754FFC173}" srcOrd="2" destOrd="0" presId="urn:microsoft.com/office/officeart/2005/8/layout/cycle8"/>
    <dgm:cxn modelId="{99F1F08B-4431-4FE2-B4C9-FAD4EFAB05EE}" type="presParOf" srcId="{11695037-4AA1-4051-B337-3E202A9819C6}" destId="{9E3D3406-0C14-44A1-BB12-63E38F49FFBB}" srcOrd="3" destOrd="0" presId="urn:microsoft.com/office/officeart/2005/8/layout/cycle8"/>
    <dgm:cxn modelId="{2074FCC2-27D1-4EF2-B2BB-64A9DB8DDB57}" type="presParOf" srcId="{11695037-4AA1-4051-B337-3E202A9819C6}" destId="{74947347-F23C-405F-A9D2-63E618A9DE8E}" srcOrd="4" destOrd="0" presId="urn:microsoft.com/office/officeart/2005/8/layout/cycle8"/>
    <dgm:cxn modelId="{A9828F3B-24E8-4865-8139-AB908FCC6B29}" type="presParOf" srcId="{11695037-4AA1-4051-B337-3E202A9819C6}" destId="{82077141-C753-4A5D-963E-7AC3C5E90CD7}" srcOrd="5" destOrd="0" presId="urn:microsoft.com/office/officeart/2005/8/layout/cycle8"/>
    <dgm:cxn modelId="{3A3BAEC9-65BD-4A85-8527-66CD94E64ACC}" type="presParOf" srcId="{11695037-4AA1-4051-B337-3E202A9819C6}" destId="{78CD0E8F-C919-436F-B2C2-AE2140A6546C}" srcOrd="6" destOrd="0" presId="urn:microsoft.com/office/officeart/2005/8/layout/cycle8"/>
    <dgm:cxn modelId="{2D4D4B6B-6059-43DF-A184-479157BDA41C}" type="presParOf" srcId="{11695037-4AA1-4051-B337-3E202A9819C6}" destId="{313903D7-6B42-4A34-AC95-7371C6D0FD0A}" srcOrd="7" destOrd="0" presId="urn:microsoft.com/office/officeart/2005/8/layout/cycle8"/>
    <dgm:cxn modelId="{CD5317C9-71B9-4D77-9551-5E8D50872D2C}" type="presParOf" srcId="{11695037-4AA1-4051-B337-3E202A9819C6}" destId="{B0C8B7AA-2A2F-4830-8EC2-EDC04EC0ECF4}" srcOrd="8" destOrd="0" presId="urn:microsoft.com/office/officeart/2005/8/layout/cycle8"/>
    <dgm:cxn modelId="{01AD85D6-2B8E-42BC-8C62-26A80F013314}" type="presParOf" srcId="{11695037-4AA1-4051-B337-3E202A9819C6}" destId="{D5AADE0A-02FF-4FFE-B786-042814B1CE9B}" srcOrd="9" destOrd="0" presId="urn:microsoft.com/office/officeart/2005/8/layout/cycle8"/>
    <dgm:cxn modelId="{2DE12538-5723-4583-B1CC-060B2E57323B}" type="presParOf" srcId="{11695037-4AA1-4051-B337-3E202A9819C6}" destId="{25C30C71-7086-4292-8A69-EA62FAF25249}" srcOrd="10" destOrd="0" presId="urn:microsoft.com/office/officeart/2005/8/layout/cycle8"/>
    <dgm:cxn modelId="{877A6E38-CC2A-4642-84FC-DC8CDF43FAAA}" type="presParOf" srcId="{11695037-4AA1-4051-B337-3E202A9819C6}" destId="{56DBEE53-3DF8-4DD1-86E8-F0E6634FCB92}" srcOrd="11" destOrd="0" presId="urn:microsoft.com/office/officeart/2005/8/layout/cycle8"/>
    <dgm:cxn modelId="{9EC4F887-F2A2-429D-8347-30020B285F46}" type="presParOf" srcId="{11695037-4AA1-4051-B337-3E202A9819C6}" destId="{77E357C4-83D0-4412-BBCB-628025E25FDD}" srcOrd="12" destOrd="0" presId="urn:microsoft.com/office/officeart/2005/8/layout/cycle8"/>
    <dgm:cxn modelId="{348E5DC7-44B8-46B3-8D7A-F5AA5861518A}" type="presParOf" srcId="{11695037-4AA1-4051-B337-3E202A9819C6}" destId="{09D315C2-A0B2-4934-826E-FF7DF803D5BF}" srcOrd="13" destOrd="0" presId="urn:microsoft.com/office/officeart/2005/8/layout/cycle8"/>
    <dgm:cxn modelId="{C331AE5B-D77F-4772-BA80-2A704E4453A5}" type="presParOf" srcId="{11695037-4AA1-4051-B337-3E202A9819C6}" destId="{5EA79CEF-BC50-4CBB-B02F-C052E40241B5}" srcOrd="14" destOrd="0" presId="urn:microsoft.com/office/officeart/2005/8/layout/cycle8"/>
    <dgm:cxn modelId="{235E111F-8B21-4633-9B89-86035982F609}" type="presParOf" srcId="{11695037-4AA1-4051-B337-3E202A9819C6}" destId="{7A1F9D95-D994-4FE4-A198-F8BE8C617CFA}" srcOrd="15" destOrd="0" presId="urn:microsoft.com/office/officeart/2005/8/layout/cycle8"/>
    <dgm:cxn modelId="{CE8123CD-D4AD-4939-89F8-18F700278CAF}" type="presParOf" srcId="{11695037-4AA1-4051-B337-3E202A9819C6}" destId="{2FF1BAF5-754B-46B7-9CEE-FDBB42AF8EFF}" srcOrd="16" destOrd="0" presId="urn:microsoft.com/office/officeart/2005/8/layout/cycle8"/>
    <dgm:cxn modelId="{F2C0AFF9-2C0E-49C6-9624-4E86222B1184}" type="presParOf" srcId="{11695037-4AA1-4051-B337-3E202A9819C6}" destId="{BFC6B8A5-EDEB-4A87-AA49-79F18C2166C9}" srcOrd="17" destOrd="0" presId="urn:microsoft.com/office/officeart/2005/8/layout/cycle8"/>
    <dgm:cxn modelId="{92F009E8-781C-4AD1-83BA-F4CDC6F142F2}" type="presParOf" srcId="{11695037-4AA1-4051-B337-3E202A9819C6}" destId="{74D8C316-4F0C-408B-A045-78929B3A0447}" srcOrd="18" destOrd="0" presId="urn:microsoft.com/office/officeart/2005/8/layout/cycle8"/>
    <dgm:cxn modelId="{1C44EFC2-8EF2-4203-9627-F5F5EF7DFB05}" type="presParOf" srcId="{11695037-4AA1-4051-B337-3E202A9819C6}" destId="{F84F42F2-D6E4-4E6E-A54B-374CF4A287C6}" srcOrd="19" destOrd="0" presId="urn:microsoft.com/office/officeart/2005/8/layout/cycle8"/>
    <dgm:cxn modelId="{25565CB7-7597-48B0-8101-CCD15BB88D85}" type="presParOf" srcId="{11695037-4AA1-4051-B337-3E202A9819C6}" destId="{F996F38F-2A13-4989-9374-B375F48FBD48}" srcOrd="20" destOrd="0" presId="urn:microsoft.com/office/officeart/2005/8/layout/cycle8"/>
    <dgm:cxn modelId="{DDDB1F0F-E459-4709-89A5-310765B6F64E}" type="presParOf" srcId="{11695037-4AA1-4051-B337-3E202A9819C6}" destId="{2C7BE3D2-23F9-4DCE-9980-3C977A825A9B}" srcOrd="21" destOrd="0" presId="urn:microsoft.com/office/officeart/2005/8/layout/cycle8"/>
    <dgm:cxn modelId="{3A2D952E-F582-493D-8505-3D171381C723}" type="presParOf" srcId="{11695037-4AA1-4051-B337-3E202A9819C6}" destId="{77C80EE2-B72D-4ADF-8122-184AA8D5DBE6}" srcOrd="22" destOrd="0" presId="urn:microsoft.com/office/officeart/2005/8/layout/cycle8"/>
    <dgm:cxn modelId="{4FF93810-AF1F-49DC-B993-43EA2DEDC78B}" type="presParOf" srcId="{11695037-4AA1-4051-B337-3E202A9819C6}" destId="{E3B43ADE-9503-483B-AE9E-DF98F9C7FC9D}" srcOrd="23" destOrd="0" presId="urn:microsoft.com/office/officeart/2005/8/layout/cycle8"/>
    <dgm:cxn modelId="{4C78A760-806D-484C-8A66-0F46D3E6004F}" type="presParOf" srcId="{11695037-4AA1-4051-B337-3E202A9819C6}" destId="{B13ADEFA-9726-4101-A8AB-FDF078D4433A}" srcOrd="24" destOrd="0" presId="urn:microsoft.com/office/officeart/2005/8/layout/cycle8"/>
    <dgm:cxn modelId="{252BBE1B-3973-4288-8C7F-C6042AE35659}" type="presParOf" srcId="{11695037-4AA1-4051-B337-3E202A9819C6}" destId="{BBAC05DC-D8D1-4B57-8DF5-8D83D79DCACF}" srcOrd="25" destOrd="0" presId="urn:microsoft.com/office/officeart/2005/8/layout/cycle8"/>
    <dgm:cxn modelId="{19DD3A1F-8A3B-4C43-9F76-98A950102FED}" type="presParOf" srcId="{11695037-4AA1-4051-B337-3E202A9819C6}" destId="{9673A5C9-1E19-43A4-8F47-77A2BA6F511E}" srcOrd="26" destOrd="0" presId="urn:microsoft.com/office/officeart/2005/8/layout/cycle8"/>
    <dgm:cxn modelId="{EB12C9EA-2CB1-48A1-9E3A-56660A8554B3}" type="presParOf" srcId="{11695037-4AA1-4051-B337-3E202A9819C6}" destId="{D5CE4064-FFFD-4A51-9F1E-C3BE04400F16}" srcOrd="27" destOrd="0" presId="urn:microsoft.com/office/officeart/2005/8/layout/cycle8"/>
    <dgm:cxn modelId="{409BDEBD-96B0-4AF1-9EE0-486A0DC5A9AE}" type="presParOf" srcId="{11695037-4AA1-4051-B337-3E202A9819C6}" destId="{6A13EF87-3A57-4236-9C31-AD1936D3868F}" srcOrd="28" destOrd="0" presId="urn:microsoft.com/office/officeart/2005/8/layout/cycle8"/>
    <dgm:cxn modelId="{F7A9791F-9939-4112-82C8-FE8DD24076D0}" type="presParOf" srcId="{11695037-4AA1-4051-B337-3E202A9819C6}" destId="{E9D82F76-F0D3-439E-BAE5-7C0D5DE22FCD}" srcOrd="2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B47F6CD-1F8F-4811-863D-409863886365}" type="doc">
      <dgm:prSet loTypeId="urn:microsoft.com/office/officeart/2005/8/layout/radial1" loCatId="cycle" qsTypeId="urn:microsoft.com/office/officeart/2005/8/quickstyle/simple1" qsCatId="simple" csTypeId="urn:microsoft.com/office/officeart/2005/8/colors/accent0_3" csCatId="mainScheme" phldr="1"/>
      <dgm:spPr/>
    </dgm:pt>
    <dgm:pt modelId="{C55E4F5B-2F4E-4CB8-A3FC-AB56EF4F3742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AE93AFD5-1F99-492C-913C-6013C58CA567}" type="parTrans" cxnId="{1E6BC3A9-0C0B-44A3-B0B3-4F99ED752ED3}">
      <dgm:prSet/>
      <dgm:spPr/>
      <dgm:t>
        <a:bodyPr/>
        <a:lstStyle/>
        <a:p>
          <a:endParaRPr lang="de-DE" sz="2000" b="1"/>
        </a:p>
      </dgm:t>
    </dgm:pt>
    <dgm:pt modelId="{A4EA5AC8-82F4-49B9-B437-6FE6C84E19E0}" type="sibTrans" cxnId="{1E6BC3A9-0C0B-44A3-B0B3-4F99ED752ED3}">
      <dgm:prSet/>
      <dgm:spPr/>
      <dgm:t>
        <a:bodyPr/>
        <a:lstStyle/>
        <a:p>
          <a:endParaRPr lang="de-DE" sz="2000" b="1"/>
        </a:p>
      </dgm:t>
    </dgm:pt>
    <dgm:pt modelId="{D6A0C82E-C0E7-4486-BE4F-30F13826A3E4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5EEB8D9A-B07E-470C-B696-CF71002D5C78}" type="parTrans" cxnId="{8600D0EE-C2FA-41C3-817B-F5FB3E320233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F424B58B-D87C-423E-91E4-E3F2A00F33B9}" type="sibTrans" cxnId="{8600D0EE-C2FA-41C3-817B-F5FB3E320233}">
      <dgm:prSet/>
      <dgm:spPr/>
      <dgm:t>
        <a:bodyPr/>
        <a:lstStyle/>
        <a:p>
          <a:endParaRPr lang="de-DE" sz="2000" b="1"/>
        </a:p>
      </dgm:t>
    </dgm:pt>
    <dgm:pt modelId="{9A908782-892F-4BF0-A856-2E93A888F893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8337CA38-1CA1-47F6-80FC-48ABC7FAB3C7}" type="parTrans" cxnId="{46D4CF24-2FB3-4184-9D21-DC1904F36F1B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8E374DF0-A147-4981-8260-918461199631}" type="sibTrans" cxnId="{46D4CF24-2FB3-4184-9D21-DC1904F36F1B}">
      <dgm:prSet/>
      <dgm:spPr/>
      <dgm:t>
        <a:bodyPr/>
        <a:lstStyle/>
        <a:p>
          <a:endParaRPr lang="de-DE" sz="2000" b="1"/>
        </a:p>
      </dgm:t>
    </dgm:pt>
    <dgm:pt modelId="{90444E87-1C0C-4746-A273-891E2BC089BA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60FBCB7E-8D77-44F1-A63F-1FFF8DB8CA6F}" type="parTrans" cxnId="{46E2CE9E-AD71-4727-84B5-DD61DDD725C6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E6CF5078-D4B0-4A8A-BDA5-D7C106EAEF3F}" type="sibTrans" cxnId="{46E2CE9E-AD71-4727-84B5-DD61DDD725C6}">
      <dgm:prSet/>
      <dgm:spPr/>
      <dgm:t>
        <a:bodyPr/>
        <a:lstStyle/>
        <a:p>
          <a:endParaRPr lang="de-DE" sz="2000" b="1"/>
        </a:p>
      </dgm:t>
    </dgm:pt>
    <dgm:pt modelId="{46644B5D-5765-4C72-9428-29D3F1BDBA9D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F94F41CF-437C-4547-89D4-7286E332594D}" type="parTrans" cxnId="{74D79365-1D1F-43B9-A715-C60BE726FCBE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FC743043-20BD-4DA6-BDF6-A3542A9183FF}" type="sibTrans" cxnId="{74D79365-1D1F-43B9-A715-C60BE726FCBE}">
      <dgm:prSet/>
      <dgm:spPr/>
      <dgm:t>
        <a:bodyPr/>
        <a:lstStyle/>
        <a:p>
          <a:endParaRPr lang="de-DE" sz="2000" b="1"/>
        </a:p>
      </dgm:t>
    </dgm:pt>
    <dgm:pt modelId="{2500E847-3C54-4B19-BE51-13B9696DBD68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03015B5D-652F-489A-8FF2-9C69801232AD}" type="parTrans" cxnId="{806DEF6B-2A87-409C-B55E-ADC8AF4AFAF7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73DBCA67-EB88-442B-B4B7-DBAD687DB4A4}" type="sibTrans" cxnId="{806DEF6B-2A87-409C-B55E-ADC8AF4AFAF7}">
      <dgm:prSet/>
      <dgm:spPr/>
      <dgm:t>
        <a:bodyPr/>
        <a:lstStyle/>
        <a:p>
          <a:endParaRPr lang="de-DE" sz="2000" b="1"/>
        </a:p>
      </dgm:t>
    </dgm:pt>
    <dgm:pt modelId="{DBABAB21-F2C6-4241-80B7-9D81F4B29F05}" type="pres">
      <dgm:prSet presAssocID="{3B47F6CD-1F8F-4811-863D-40986388636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4A3ECEB-4958-4BAC-BD22-E105B1528B1A}" type="pres">
      <dgm:prSet presAssocID="{C55E4F5B-2F4E-4CB8-A3FC-AB56EF4F3742}" presName="centerShape" presStyleLbl="node0" presStyleIdx="0" presStyleCnt="1"/>
      <dgm:spPr/>
      <dgm:t>
        <a:bodyPr/>
        <a:lstStyle/>
        <a:p>
          <a:endParaRPr lang="de-DE"/>
        </a:p>
      </dgm:t>
    </dgm:pt>
    <dgm:pt modelId="{25E0D703-55F6-4402-8A7E-FFF4F8F4D2E6}" type="pres">
      <dgm:prSet presAssocID="{5EEB8D9A-B07E-470C-B696-CF71002D5C78}" presName="Name9" presStyleLbl="parChTrans1D2" presStyleIdx="0" presStyleCnt="5"/>
      <dgm:spPr/>
      <dgm:t>
        <a:bodyPr/>
        <a:lstStyle/>
        <a:p>
          <a:endParaRPr lang="de-DE"/>
        </a:p>
      </dgm:t>
    </dgm:pt>
    <dgm:pt modelId="{0B63826E-A24D-4CA9-BA41-230A1C50EF51}" type="pres">
      <dgm:prSet presAssocID="{5EEB8D9A-B07E-470C-B696-CF71002D5C78}" presName="connTx" presStyleLbl="parChTrans1D2" presStyleIdx="0" presStyleCnt="5"/>
      <dgm:spPr/>
      <dgm:t>
        <a:bodyPr/>
        <a:lstStyle/>
        <a:p>
          <a:endParaRPr lang="de-DE"/>
        </a:p>
      </dgm:t>
    </dgm:pt>
    <dgm:pt modelId="{B91F8B60-A63F-4EB5-BF93-3DAFA129B02C}" type="pres">
      <dgm:prSet presAssocID="{D6A0C82E-C0E7-4486-BE4F-30F13826A3E4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3C2A98-8983-4219-A751-46E9436338DB}" type="pres">
      <dgm:prSet presAssocID="{60FBCB7E-8D77-44F1-A63F-1FFF8DB8CA6F}" presName="Name9" presStyleLbl="parChTrans1D2" presStyleIdx="1" presStyleCnt="5"/>
      <dgm:spPr/>
      <dgm:t>
        <a:bodyPr/>
        <a:lstStyle/>
        <a:p>
          <a:endParaRPr lang="de-DE"/>
        </a:p>
      </dgm:t>
    </dgm:pt>
    <dgm:pt modelId="{A1040425-1AA9-4596-B773-C68BBAE9B729}" type="pres">
      <dgm:prSet presAssocID="{60FBCB7E-8D77-44F1-A63F-1FFF8DB8CA6F}" presName="connTx" presStyleLbl="parChTrans1D2" presStyleIdx="1" presStyleCnt="5"/>
      <dgm:spPr/>
      <dgm:t>
        <a:bodyPr/>
        <a:lstStyle/>
        <a:p>
          <a:endParaRPr lang="de-DE"/>
        </a:p>
      </dgm:t>
    </dgm:pt>
    <dgm:pt modelId="{4E63133D-444E-45B6-B0F7-34ED33EAE162}" type="pres">
      <dgm:prSet presAssocID="{90444E87-1C0C-4746-A273-891E2BC089BA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7179E7F-E6C6-436B-8FAE-AA200FAA5FEB}" type="pres">
      <dgm:prSet presAssocID="{F94F41CF-437C-4547-89D4-7286E332594D}" presName="Name9" presStyleLbl="parChTrans1D2" presStyleIdx="2" presStyleCnt="5"/>
      <dgm:spPr/>
      <dgm:t>
        <a:bodyPr/>
        <a:lstStyle/>
        <a:p>
          <a:endParaRPr lang="de-DE"/>
        </a:p>
      </dgm:t>
    </dgm:pt>
    <dgm:pt modelId="{2DB3B8A3-6650-4F90-908F-FF9795EE6013}" type="pres">
      <dgm:prSet presAssocID="{F94F41CF-437C-4547-89D4-7286E332594D}" presName="connTx" presStyleLbl="parChTrans1D2" presStyleIdx="2" presStyleCnt="5"/>
      <dgm:spPr/>
      <dgm:t>
        <a:bodyPr/>
        <a:lstStyle/>
        <a:p>
          <a:endParaRPr lang="de-DE"/>
        </a:p>
      </dgm:t>
    </dgm:pt>
    <dgm:pt modelId="{89E9B559-EDC8-466E-BDFB-3EC5017BD97C}" type="pres">
      <dgm:prSet presAssocID="{46644B5D-5765-4C72-9428-29D3F1BDBA9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525E24F-A4C0-4675-A06B-CCFF4FE5C3CE}" type="pres">
      <dgm:prSet presAssocID="{03015B5D-652F-489A-8FF2-9C69801232AD}" presName="Name9" presStyleLbl="parChTrans1D2" presStyleIdx="3" presStyleCnt="5"/>
      <dgm:spPr/>
      <dgm:t>
        <a:bodyPr/>
        <a:lstStyle/>
        <a:p>
          <a:endParaRPr lang="de-DE"/>
        </a:p>
      </dgm:t>
    </dgm:pt>
    <dgm:pt modelId="{3294437B-4F66-4461-9247-0948109F9F73}" type="pres">
      <dgm:prSet presAssocID="{03015B5D-652F-489A-8FF2-9C69801232AD}" presName="connTx" presStyleLbl="parChTrans1D2" presStyleIdx="3" presStyleCnt="5"/>
      <dgm:spPr/>
      <dgm:t>
        <a:bodyPr/>
        <a:lstStyle/>
        <a:p>
          <a:endParaRPr lang="de-DE"/>
        </a:p>
      </dgm:t>
    </dgm:pt>
    <dgm:pt modelId="{FE82B33A-7752-4764-8FAD-D701EC1ED685}" type="pres">
      <dgm:prSet presAssocID="{2500E847-3C54-4B19-BE51-13B9696DBD68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AF52163-06C9-4469-AC73-E74311FD8029}" type="pres">
      <dgm:prSet presAssocID="{8337CA38-1CA1-47F6-80FC-48ABC7FAB3C7}" presName="Name9" presStyleLbl="parChTrans1D2" presStyleIdx="4" presStyleCnt="5"/>
      <dgm:spPr/>
      <dgm:t>
        <a:bodyPr/>
        <a:lstStyle/>
        <a:p>
          <a:endParaRPr lang="de-DE"/>
        </a:p>
      </dgm:t>
    </dgm:pt>
    <dgm:pt modelId="{0A121157-D140-44F6-8576-D9ABED52E7B5}" type="pres">
      <dgm:prSet presAssocID="{8337CA38-1CA1-47F6-80FC-48ABC7FAB3C7}" presName="connTx" presStyleLbl="parChTrans1D2" presStyleIdx="4" presStyleCnt="5"/>
      <dgm:spPr/>
      <dgm:t>
        <a:bodyPr/>
        <a:lstStyle/>
        <a:p>
          <a:endParaRPr lang="de-DE"/>
        </a:p>
      </dgm:t>
    </dgm:pt>
    <dgm:pt modelId="{68D58502-64A5-4D3F-8685-EC589891B23F}" type="pres">
      <dgm:prSet presAssocID="{9A908782-892F-4BF0-A856-2E93A888F89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52C7058-D0F2-45A9-A35B-96ACDD0FAF55}" type="presOf" srcId="{46644B5D-5765-4C72-9428-29D3F1BDBA9D}" destId="{89E9B559-EDC8-466E-BDFB-3EC5017BD97C}" srcOrd="0" destOrd="0" presId="urn:microsoft.com/office/officeart/2005/8/layout/radial1"/>
    <dgm:cxn modelId="{0D795280-3E3F-450B-A542-89C528DC8086}" type="presOf" srcId="{03015B5D-652F-489A-8FF2-9C69801232AD}" destId="{2525E24F-A4C0-4675-A06B-CCFF4FE5C3CE}" srcOrd="0" destOrd="0" presId="urn:microsoft.com/office/officeart/2005/8/layout/radial1"/>
    <dgm:cxn modelId="{C7ACD075-A1DA-43AE-B758-D18D4B643AF6}" type="presOf" srcId="{F94F41CF-437C-4547-89D4-7286E332594D}" destId="{2DB3B8A3-6650-4F90-908F-FF9795EE6013}" srcOrd="1" destOrd="0" presId="urn:microsoft.com/office/officeart/2005/8/layout/radial1"/>
    <dgm:cxn modelId="{27B118AB-1DBE-4B4F-AD46-CA849B5EC259}" type="presOf" srcId="{60FBCB7E-8D77-44F1-A63F-1FFF8DB8CA6F}" destId="{0F3C2A98-8983-4219-A751-46E9436338DB}" srcOrd="0" destOrd="0" presId="urn:microsoft.com/office/officeart/2005/8/layout/radial1"/>
    <dgm:cxn modelId="{9734F621-B659-473E-9A0B-A49760981CE7}" type="presOf" srcId="{03015B5D-652F-489A-8FF2-9C69801232AD}" destId="{3294437B-4F66-4461-9247-0948109F9F73}" srcOrd="1" destOrd="0" presId="urn:microsoft.com/office/officeart/2005/8/layout/radial1"/>
    <dgm:cxn modelId="{46E2CE9E-AD71-4727-84B5-DD61DDD725C6}" srcId="{C55E4F5B-2F4E-4CB8-A3FC-AB56EF4F3742}" destId="{90444E87-1C0C-4746-A273-891E2BC089BA}" srcOrd="1" destOrd="0" parTransId="{60FBCB7E-8D77-44F1-A63F-1FFF8DB8CA6F}" sibTransId="{E6CF5078-D4B0-4A8A-BDA5-D7C106EAEF3F}"/>
    <dgm:cxn modelId="{7850D451-4CDF-4AFB-A8D9-A94D75660C6E}" type="presOf" srcId="{D6A0C82E-C0E7-4486-BE4F-30F13826A3E4}" destId="{B91F8B60-A63F-4EB5-BF93-3DAFA129B02C}" srcOrd="0" destOrd="0" presId="urn:microsoft.com/office/officeart/2005/8/layout/radial1"/>
    <dgm:cxn modelId="{8C6DB7C5-64C0-4906-BD09-41B6349ADFA1}" type="presOf" srcId="{60FBCB7E-8D77-44F1-A63F-1FFF8DB8CA6F}" destId="{A1040425-1AA9-4596-B773-C68BBAE9B729}" srcOrd="1" destOrd="0" presId="urn:microsoft.com/office/officeart/2005/8/layout/radial1"/>
    <dgm:cxn modelId="{1E6BC3A9-0C0B-44A3-B0B3-4F99ED752ED3}" srcId="{3B47F6CD-1F8F-4811-863D-409863886365}" destId="{C55E4F5B-2F4E-4CB8-A3FC-AB56EF4F3742}" srcOrd="0" destOrd="0" parTransId="{AE93AFD5-1F99-492C-913C-6013C58CA567}" sibTransId="{A4EA5AC8-82F4-49B9-B437-6FE6C84E19E0}"/>
    <dgm:cxn modelId="{E43AB345-4859-4747-AC24-FBE7FD6E7F24}" type="presOf" srcId="{90444E87-1C0C-4746-A273-891E2BC089BA}" destId="{4E63133D-444E-45B6-B0F7-34ED33EAE162}" srcOrd="0" destOrd="0" presId="urn:microsoft.com/office/officeart/2005/8/layout/radial1"/>
    <dgm:cxn modelId="{2FCF46AE-416F-46AC-B76F-CA541E9DE41B}" type="presOf" srcId="{5EEB8D9A-B07E-470C-B696-CF71002D5C78}" destId="{0B63826E-A24D-4CA9-BA41-230A1C50EF51}" srcOrd="1" destOrd="0" presId="urn:microsoft.com/office/officeart/2005/8/layout/radial1"/>
    <dgm:cxn modelId="{0FC4AA4D-0974-4D2B-AA80-094D4F358DC8}" type="presOf" srcId="{3B47F6CD-1F8F-4811-863D-409863886365}" destId="{DBABAB21-F2C6-4241-80B7-9D81F4B29F05}" srcOrd="0" destOrd="0" presId="urn:microsoft.com/office/officeart/2005/8/layout/radial1"/>
    <dgm:cxn modelId="{1D2782B6-E7AC-4536-AA63-4E42BF4A226B}" type="presOf" srcId="{8337CA38-1CA1-47F6-80FC-48ABC7FAB3C7}" destId="{DAF52163-06C9-4469-AC73-E74311FD8029}" srcOrd="0" destOrd="0" presId="urn:microsoft.com/office/officeart/2005/8/layout/radial1"/>
    <dgm:cxn modelId="{AC893A3D-7A9C-414D-920C-3D6379B1706F}" type="presOf" srcId="{F94F41CF-437C-4547-89D4-7286E332594D}" destId="{37179E7F-E6C6-436B-8FAE-AA200FAA5FEB}" srcOrd="0" destOrd="0" presId="urn:microsoft.com/office/officeart/2005/8/layout/radial1"/>
    <dgm:cxn modelId="{AE03CBB1-35F5-4225-8511-BBFA70F11F62}" type="presOf" srcId="{C55E4F5B-2F4E-4CB8-A3FC-AB56EF4F3742}" destId="{14A3ECEB-4958-4BAC-BD22-E105B1528B1A}" srcOrd="0" destOrd="0" presId="urn:microsoft.com/office/officeart/2005/8/layout/radial1"/>
    <dgm:cxn modelId="{E02ADEA1-CF61-4C6F-93BF-86A12BD7F44F}" type="presOf" srcId="{8337CA38-1CA1-47F6-80FC-48ABC7FAB3C7}" destId="{0A121157-D140-44F6-8576-D9ABED52E7B5}" srcOrd="1" destOrd="0" presId="urn:microsoft.com/office/officeart/2005/8/layout/radial1"/>
    <dgm:cxn modelId="{48515CFA-A1F8-4818-8849-44C99092238F}" type="presOf" srcId="{5EEB8D9A-B07E-470C-B696-CF71002D5C78}" destId="{25E0D703-55F6-4402-8A7E-FFF4F8F4D2E6}" srcOrd="0" destOrd="0" presId="urn:microsoft.com/office/officeart/2005/8/layout/radial1"/>
    <dgm:cxn modelId="{806DEF6B-2A87-409C-B55E-ADC8AF4AFAF7}" srcId="{C55E4F5B-2F4E-4CB8-A3FC-AB56EF4F3742}" destId="{2500E847-3C54-4B19-BE51-13B9696DBD68}" srcOrd="3" destOrd="0" parTransId="{03015B5D-652F-489A-8FF2-9C69801232AD}" sibTransId="{73DBCA67-EB88-442B-B4B7-DBAD687DB4A4}"/>
    <dgm:cxn modelId="{074A010F-FC75-49D4-94B9-A198D2439ED3}" type="presOf" srcId="{2500E847-3C54-4B19-BE51-13B9696DBD68}" destId="{FE82B33A-7752-4764-8FAD-D701EC1ED685}" srcOrd="0" destOrd="0" presId="urn:microsoft.com/office/officeart/2005/8/layout/radial1"/>
    <dgm:cxn modelId="{27B00684-3F21-4A68-AF8D-F8BC7E1B2D97}" type="presOf" srcId="{9A908782-892F-4BF0-A856-2E93A888F893}" destId="{68D58502-64A5-4D3F-8685-EC589891B23F}" srcOrd="0" destOrd="0" presId="urn:microsoft.com/office/officeart/2005/8/layout/radial1"/>
    <dgm:cxn modelId="{46D4CF24-2FB3-4184-9D21-DC1904F36F1B}" srcId="{C55E4F5B-2F4E-4CB8-A3FC-AB56EF4F3742}" destId="{9A908782-892F-4BF0-A856-2E93A888F893}" srcOrd="4" destOrd="0" parTransId="{8337CA38-1CA1-47F6-80FC-48ABC7FAB3C7}" sibTransId="{8E374DF0-A147-4981-8260-918461199631}"/>
    <dgm:cxn modelId="{8600D0EE-C2FA-41C3-817B-F5FB3E320233}" srcId="{C55E4F5B-2F4E-4CB8-A3FC-AB56EF4F3742}" destId="{D6A0C82E-C0E7-4486-BE4F-30F13826A3E4}" srcOrd="0" destOrd="0" parTransId="{5EEB8D9A-B07E-470C-B696-CF71002D5C78}" sibTransId="{F424B58B-D87C-423E-91E4-E3F2A00F33B9}"/>
    <dgm:cxn modelId="{74D79365-1D1F-43B9-A715-C60BE726FCBE}" srcId="{C55E4F5B-2F4E-4CB8-A3FC-AB56EF4F3742}" destId="{46644B5D-5765-4C72-9428-29D3F1BDBA9D}" srcOrd="2" destOrd="0" parTransId="{F94F41CF-437C-4547-89D4-7286E332594D}" sibTransId="{FC743043-20BD-4DA6-BDF6-A3542A9183FF}"/>
    <dgm:cxn modelId="{3282A439-32F7-413A-B05C-9410D006C59A}" type="presParOf" srcId="{DBABAB21-F2C6-4241-80B7-9D81F4B29F05}" destId="{14A3ECEB-4958-4BAC-BD22-E105B1528B1A}" srcOrd="0" destOrd="0" presId="urn:microsoft.com/office/officeart/2005/8/layout/radial1"/>
    <dgm:cxn modelId="{88D6D7AD-C7D1-49D5-B3DE-2352D2E380A0}" type="presParOf" srcId="{DBABAB21-F2C6-4241-80B7-9D81F4B29F05}" destId="{25E0D703-55F6-4402-8A7E-FFF4F8F4D2E6}" srcOrd="1" destOrd="0" presId="urn:microsoft.com/office/officeart/2005/8/layout/radial1"/>
    <dgm:cxn modelId="{875329DE-471F-4D8D-B3A8-0E040BBB993F}" type="presParOf" srcId="{25E0D703-55F6-4402-8A7E-FFF4F8F4D2E6}" destId="{0B63826E-A24D-4CA9-BA41-230A1C50EF51}" srcOrd="0" destOrd="0" presId="urn:microsoft.com/office/officeart/2005/8/layout/radial1"/>
    <dgm:cxn modelId="{41F3050D-5F5A-4269-889A-2FCDBC55B9FA}" type="presParOf" srcId="{DBABAB21-F2C6-4241-80B7-9D81F4B29F05}" destId="{B91F8B60-A63F-4EB5-BF93-3DAFA129B02C}" srcOrd="2" destOrd="0" presId="urn:microsoft.com/office/officeart/2005/8/layout/radial1"/>
    <dgm:cxn modelId="{E10673EF-C3FB-4B21-95C0-57AB470CDD7B}" type="presParOf" srcId="{DBABAB21-F2C6-4241-80B7-9D81F4B29F05}" destId="{0F3C2A98-8983-4219-A751-46E9436338DB}" srcOrd="3" destOrd="0" presId="urn:microsoft.com/office/officeart/2005/8/layout/radial1"/>
    <dgm:cxn modelId="{4F2B072C-31C1-4A7C-B279-B1E995117108}" type="presParOf" srcId="{0F3C2A98-8983-4219-A751-46E9436338DB}" destId="{A1040425-1AA9-4596-B773-C68BBAE9B729}" srcOrd="0" destOrd="0" presId="urn:microsoft.com/office/officeart/2005/8/layout/radial1"/>
    <dgm:cxn modelId="{1A3DDE4D-BA3E-4506-A114-8490EDB88B6C}" type="presParOf" srcId="{DBABAB21-F2C6-4241-80B7-9D81F4B29F05}" destId="{4E63133D-444E-45B6-B0F7-34ED33EAE162}" srcOrd="4" destOrd="0" presId="urn:microsoft.com/office/officeart/2005/8/layout/radial1"/>
    <dgm:cxn modelId="{DFC4C238-A49B-44A4-A788-AA41D5881B0E}" type="presParOf" srcId="{DBABAB21-F2C6-4241-80B7-9D81F4B29F05}" destId="{37179E7F-E6C6-436B-8FAE-AA200FAA5FEB}" srcOrd="5" destOrd="0" presId="urn:microsoft.com/office/officeart/2005/8/layout/radial1"/>
    <dgm:cxn modelId="{17DFD864-7CA4-479B-953C-D3D77B792F8D}" type="presParOf" srcId="{37179E7F-E6C6-436B-8FAE-AA200FAA5FEB}" destId="{2DB3B8A3-6650-4F90-908F-FF9795EE6013}" srcOrd="0" destOrd="0" presId="urn:microsoft.com/office/officeart/2005/8/layout/radial1"/>
    <dgm:cxn modelId="{94324C81-F299-42A1-A4BA-76CBA208B27F}" type="presParOf" srcId="{DBABAB21-F2C6-4241-80B7-9D81F4B29F05}" destId="{89E9B559-EDC8-466E-BDFB-3EC5017BD97C}" srcOrd="6" destOrd="0" presId="urn:microsoft.com/office/officeart/2005/8/layout/radial1"/>
    <dgm:cxn modelId="{0EFAF1B5-36FD-4448-9FA4-DF55E67DB3D7}" type="presParOf" srcId="{DBABAB21-F2C6-4241-80B7-9D81F4B29F05}" destId="{2525E24F-A4C0-4675-A06B-CCFF4FE5C3CE}" srcOrd="7" destOrd="0" presId="urn:microsoft.com/office/officeart/2005/8/layout/radial1"/>
    <dgm:cxn modelId="{4FDADE06-0FDA-4E90-98E6-67B9426B79FC}" type="presParOf" srcId="{2525E24F-A4C0-4675-A06B-CCFF4FE5C3CE}" destId="{3294437B-4F66-4461-9247-0948109F9F73}" srcOrd="0" destOrd="0" presId="urn:microsoft.com/office/officeart/2005/8/layout/radial1"/>
    <dgm:cxn modelId="{211D7FD3-2677-4FFD-939E-3445F5DB9F29}" type="presParOf" srcId="{DBABAB21-F2C6-4241-80B7-9D81F4B29F05}" destId="{FE82B33A-7752-4764-8FAD-D701EC1ED685}" srcOrd="8" destOrd="0" presId="urn:microsoft.com/office/officeart/2005/8/layout/radial1"/>
    <dgm:cxn modelId="{539BF41D-80B0-4918-AB02-B1C4BD79E768}" type="presParOf" srcId="{DBABAB21-F2C6-4241-80B7-9D81F4B29F05}" destId="{DAF52163-06C9-4469-AC73-E74311FD8029}" srcOrd="9" destOrd="0" presId="urn:microsoft.com/office/officeart/2005/8/layout/radial1"/>
    <dgm:cxn modelId="{D7ACEC28-15D4-4EC7-BAA1-3043700974DF}" type="presParOf" srcId="{DAF52163-06C9-4469-AC73-E74311FD8029}" destId="{0A121157-D140-44F6-8576-D9ABED52E7B5}" srcOrd="0" destOrd="0" presId="urn:microsoft.com/office/officeart/2005/8/layout/radial1"/>
    <dgm:cxn modelId="{F09322F1-5CD4-4B3C-BAF3-7BE03810C267}" type="presParOf" srcId="{DBABAB21-F2C6-4241-80B7-9D81F4B29F05}" destId="{68D58502-64A5-4D3F-8685-EC589891B23F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A6ADFD0-3069-49EC-9C17-8A49F4AC496C}" type="doc">
      <dgm:prSet loTypeId="urn:microsoft.com/office/officeart/2005/8/layout/cycle5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46605806-3908-4858-8F3D-98954CAF061B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1D7D86CB-6318-4CD1-940D-8CFB11A68F72}" type="parTrans" cxnId="{FFF12B56-06DB-47F1-925A-2827BF7AD580}">
      <dgm:prSet/>
      <dgm:spPr/>
      <dgm:t>
        <a:bodyPr/>
        <a:lstStyle/>
        <a:p>
          <a:endParaRPr lang="de-DE" sz="2000" b="1"/>
        </a:p>
      </dgm:t>
    </dgm:pt>
    <dgm:pt modelId="{6EF72E3B-D799-438E-BBF8-81D95C0CA34C}" type="sibTrans" cxnId="{FFF12B56-06DB-47F1-925A-2827BF7AD580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5CA8EA22-459F-4D63-AE1D-0FCCFCA59950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6A839719-C0DA-4429-BB5D-DCCB1FAD7C91}" type="parTrans" cxnId="{E3AEF970-78FC-4611-A9C9-534788B24588}">
      <dgm:prSet/>
      <dgm:spPr/>
      <dgm:t>
        <a:bodyPr/>
        <a:lstStyle/>
        <a:p>
          <a:endParaRPr lang="de-DE" sz="2000" b="1"/>
        </a:p>
      </dgm:t>
    </dgm:pt>
    <dgm:pt modelId="{8A3BC984-0BE5-46A9-9D94-C041A0D697CB}" type="sibTrans" cxnId="{E3AEF970-78FC-4611-A9C9-534788B24588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364222B9-F646-4513-A98B-6BF562A9DC1C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C31F2F59-666A-4E67-A91E-3D559821E6A7}" type="parTrans" cxnId="{9855C223-FC4F-470E-B06C-8BC3E4EDA78A}">
      <dgm:prSet/>
      <dgm:spPr/>
      <dgm:t>
        <a:bodyPr/>
        <a:lstStyle/>
        <a:p>
          <a:endParaRPr lang="de-DE" sz="2000" b="1"/>
        </a:p>
      </dgm:t>
    </dgm:pt>
    <dgm:pt modelId="{767815A4-1274-4C0B-8EB5-CE06A0FAD16F}" type="sibTrans" cxnId="{9855C223-FC4F-470E-B06C-8BC3E4EDA78A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8A4051E6-3DD5-476D-9947-75288968A673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5447CC4A-304A-4787-8D37-A4D9898D9717}" type="parTrans" cxnId="{DE18504F-4CAD-42D1-AFA5-81048E2AB47D}">
      <dgm:prSet/>
      <dgm:spPr/>
      <dgm:t>
        <a:bodyPr/>
        <a:lstStyle/>
        <a:p>
          <a:endParaRPr lang="de-DE" sz="2000" b="1"/>
        </a:p>
      </dgm:t>
    </dgm:pt>
    <dgm:pt modelId="{AAAF9010-0B63-42F8-A8DB-D65C102C276A}" type="sibTrans" cxnId="{DE18504F-4CAD-42D1-AFA5-81048E2AB47D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C08AD8B6-F84A-44F8-9906-EC1A3675046B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655D1858-7219-44B0-82D9-CA4AFE9EABA5}" type="parTrans" cxnId="{2DCFE6DF-CFC1-439E-877A-6E04F0CF2982}">
      <dgm:prSet/>
      <dgm:spPr/>
      <dgm:t>
        <a:bodyPr/>
        <a:lstStyle/>
        <a:p>
          <a:endParaRPr lang="de-DE" sz="2000" b="1"/>
        </a:p>
      </dgm:t>
    </dgm:pt>
    <dgm:pt modelId="{59B6D85A-7AD1-4899-AAFA-5665E022F6D6}" type="sibTrans" cxnId="{2DCFE6DF-CFC1-439E-877A-6E04F0CF2982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8731ED84-5CDB-4D65-9410-0C3B61474D59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2000" b="1" dirty="0" smtClean="0"/>
            <a:t>Text</a:t>
          </a:r>
          <a:endParaRPr lang="de-DE" sz="2000" b="1" dirty="0"/>
        </a:p>
      </dgm:t>
    </dgm:pt>
    <dgm:pt modelId="{E5CDC089-EB34-45B4-8F2D-B165C09738C9}" type="parTrans" cxnId="{E6F6C5C3-C03D-40DD-B851-0C906152D911}">
      <dgm:prSet/>
      <dgm:spPr/>
      <dgm:t>
        <a:bodyPr/>
        <a:lstStyle/>
        <a:p>
          <a:endParaRPr lang="de-DE" sz="2000" b="1"/>
        </a:p>
      </dgm:t>
    </dgm:pt>
    <dgm:pt modelId="{DE2CC384-1D80-43E3-94E4-D51C2681080E}" type="sibTrans" cxnId="{E6F6C5C3-C03D-40DD-B851-0C906152D911}">
      <dgm:prSet/>
      <dgm:spPr>
        <a:ln w="38100">
          <a:solidFill>
            <a:schemeClr val="tx2"/>
          </a:solidFill>
        </a:ln>
      </dgm:spPr>
      <dgm:t>
        <a:bodyPr/>
        <a:lstStyle/>
        <a:p>
          <a:endParaRPr lang="de-DE" sz="2000" b="1"/>
        </a:p>
      </dgm:t>
    </dgm:pt>
    <dgm:pt modelId="{4214AB51-B4AF-4789-9999-ADEE537A9951}" type="pres">
      <dgm:prSet presAssocID="{6A6ADFD0-3069-49EC-9C17-8A49F4AC496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4AE218A-DB8B-4FE4-AFDB-769CB67272FA}" type="pres">
      <dgm:prSet presAssocID="{46605806-3908-4858-8F3D-98954CAF061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5D924F3-8D7D-400C-B311-E37C2E17C814}" type="pres">
      <dgm:prSet presAssocID="{46605806-3908-4858-8F3D-98954CAF061B}" presName="spNode" presStyleCnt="0"/>
      <dgm:spPr/>
    </dgm:pt>
    <dgm:pt modelId="{234374EA-3F8B-4263-ADFF-9785F3D58647}" type="pres">
      <dgm:prSet presAssocID="{6EF72E3B-D799-438E-BBF8-81D95C0CA34C}" presName="sibTrans" presStyleLbl="sibTrans1D1" presStyleIdx="0" presStyleCnt="6"/>
      <dgm:spPr/>
      <dgm:t>
        <a:bodyPr/>
        <a:lstStyle/>
        <a:p>
          <a:endParaRPr lang="de-DE"/>
        </a:p>
      </dgm:t>
    </dgm:pt>
    <dgm:pt modelId="{217ADD57-73B4-4556-852C-90287624A2B8}" type="pres">
      <dgm:prSet presAssocID="{5CA8EA22-459F-4D63-AE1D-0FCCFCA59950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E1481BA-5481-42ED-BC67-CC5F17447140}" type="pres">
      <dgm:prSet presAssocID="{5CA8EA22-459F-4D63-AE1D-0FCCFCA59950}" presName="spNode" presStyleCnt="0"/>
      <dgm:spPr/>
    </dgm:pt>
    <dgm:pt modelId="{08FC8743-277C-4458-9E9C-536E7FAE5D1A}" type="pres">
      <dgm:prSet presAssocID="{8A3BC984-0BE5-46A9-9D94-C041A0D697CB}" presName="sibTrans" presStyleLbl="sibTrans1D1" presStyleIdx="1" presStyleCnt="6"/>
      <dgm:spPr/>
      <dgm:t>
        <a:bodyPr/>
        <a:lstStyle/>
        <a:p>
          <a:endParaRPr lang="de-DE"/>
        </a:p>
      </dgm:t>
    </dgm:pt>
    <dgm:pt modelId="{6C821FF8-0C56-4B63-A802-6F80701DB73E}" type="pres">
      <dgm:prSet presAssocID="{364222B9-F646-4513-A98B-6BF562A9DC1C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D5B190B-FB0C-45AD-9060-FBE94048ADBC}" type="pres">
      <dgm:prSet presAssocID="{364222B9-F646-4513-A98B-6BF562A9DC1C}" presName="spNode" presStyleCnt="0"/>
      <dgm:spPr/>
    </dgm:pt>
    <dgm:pt modelId="{99706CBB-BE9C-41F0-BA80-84A361F7FF35}" type="pres">
      <dgm:prSet presAssocID="{767815A4-1274-4C0B-8EB5-CE06A0FAD16F}" presName="sibTrans" presStyleLbl="sibTrans1D1" presStyleIdx="2" presStyleCnt="6"/>
      <dgm:spPr/>
      <dgm:t>
        <a:bodyPr/>
        <a:lstStyle/>
        <a:p>
          <a:endParaRPr lang="de-DE"/>
        </a:p>
      </dgm:t>
    </dgm:pt>
    <dgm:pt modelId="{C6F8EDA6-00BA-4DB7-9D99-69A83D13A9B9}" type="pres">
      <dgm:prSet presAssocID="{8A4051E6-3DD5-476D-9947-75288968A673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AF42E7B-33A9-4A8C-8DD4-2495EF2FA52F}" type="pres">
      <dgm:prSet presAssocID="{8A4051E6-3DD5-476D-9947-75288968A673}" presName="spNode" presStyleCnt="0"/>
      <dgm:spPr/>
    </dgm:pt>
    <dgm:pt modelId="{43F0C985-6BEA-4EE3-ACF8-246414156A85}" type="pres">
      <dgm:prSet presAssocID="{AAAF9010-0B63-42F8-A8DB-D65C102C276A}" presName="sibTrans" presStyleLbl="sibTrans1D1" presStyleIdx="3" presStyleCnt="6"/>
      <dgm:spPr/>
      <dgm:t>
        <a:bodyPr/>
        <a:lstStyle/>
        <a:p>
          <a:endParaRPr lang="de-DE"/>
        </a:p>
      </dgm:t>
    </dgm:pt>
    <dgm:pt modelId="{A5440CAD-7B56-40A7-B4C9-05382780C187}" type="pres">
      <dgm:prSet presAssocID="{C08AD8B6-F84A-44F8-9906-EC1A3675046B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99E7F2C-5B86-4A93-B5B4-18F4EAD692E9}" type="pres">
      <dgm:prSet presAssocID="{C08AD8B6-F84A-44F8-9906-EC1A3675046B}" presName="spNode" presStyleCnt="0"/>
      <dgm:spPr/>
    </dgm:pt>
    <dgm:pt modelId="{539EB0FB-03B8-4AAF-A871-51FD8E755726}" type="pres">
      <dgm:prSet presAssocID="{59B6D85A-7AD1-4899-AAFA-5665E022F6D6}" presName="sibTrans" presStyleLbl="sibTrans1D1" presStyleIdx="4" presStyleCnt="6"/>
      <dgm:spPr/>
      <dgm:t>
        <a:bodyPr/>
        <a:lstStyle/>
        <a:p>
          <a:endParaRPr lang="de-DE"/>
        </a:p>
      </dgm:t>
    </dgm:pt>
    <dgm:pt modelId="{99F8F546-3419-4283-987B-61B36119B79F}" type="pres">
      <dgm:prSet presAssocID="{8731ED84-5CDB-4D65-9410-0C3B61474D5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BDA71C5-B78F-4196-92BB-159F69E48335}" type="pres">
      <dgm:prSet presAssocID="{8731ED84-5CDB-4D65-9410-0C3B61474D59}" presName="spNode" presStyleCnt="0"/>
      <dgm:spPr/>
    </dgm:pt>
    <dgm:pt modelId="{3A200339-45BD-49BA-AFBF-7AD3C6D32142}" type="pres">
      <dgm:prSet presAssocID="{DE2CC384-1D80-43E3-94E4-D51C2681080E}" presName="sibTrans" presStyleLbl="sibTrans1D1" presStyleIdx="5" presStyleCnt="6"/>
      <dgm:spPr/>
      <dgm:t>
        <a:bodyPr/>
        <a:lstStyle/>
        <a:p>
          <a:endParaRPr lang="de-DE"/>
        </a:p>
      </dgm:t>
    </dgm:pt>
  </dgm:ptLst>
  <dgm:cxnLst>
    <dgm:cxn modelId="{F5FB09F5-2D44-420B-B908-1C9B00987F3E}" type="presOf" srcId="{6A6ADFD0-3069-49EC-9C17-8A49F4AC496C}" destId="{4214AB51-B4AF-4789-9999-ADEE537A9951}" srcOrd="0" destOrd="0" presId="urn:microsoft.com/office/officeart/2005/8/layout/cycle5"/>
    <dgm:cxn modelId="{DE18504F-4CAD-42D1-AFA5-81048E2AB47D}" srcId="{6A6ADFD0-3069-49EC-9C17-8A49F4AC496C}" destId="{8A4051E6-3DD5-476D-9947-75288968A673}" srcOrd="3" destOrd="0" parTransId="{5447CC4A-304A-4787-8D37-A4D9898D9717}" sibTransId="{AAAF9010-0B63-42F8-A8DB-D65C102C276A}"/>
    <dgm:cxn modelId="{C1B4232E-B705-4D1D-B7B1-EB32DDFAA98B}" type="presOf" srcId="{DE2CC384-1D80-43E3-94E4-D51C2681080E}" destId="{3A200339-45BD-49BA-AFBF-7AD3C6D32142}" srcOrd="0" destOrd="0" presId="urn:microsoft.com/office/officeart/2005/8/layout/cycle5"/>
    <dgm:cxn modelId="{CE37543E-A490-4B29-A7E7-87E4BA55A3CA}" type="presOf" srcId="{8731ED84-5CDB-4D65-9410-0C3B61474D59}" destId="{99F8F546-3419-4283-987B-61B36119B79F}" srcOrd="0" destOrd="0" presId="urn:microsoft.com/office/officeart/2005/8/layout/cycle5"/>
    <dgm:cxn modelId="{EFCF47A6-32E5-4CFC-AEBE-27C85D0F9E05}" type="presOf" srcId="{6EF72E3B-D799-438E-BBF8-81D95C0CA34C}" destId="{234374EA-3F8B-4263-ADFF-9785F3D58647}" srcOrd="0" destOrd="0" presId="urn:microsoft.com/office/officeart/2005/8/layout/cycle5"/>
    <dgm:cxn modelId="{2DCFE6DF-CFC1-439E-877A-6E04F0CF2982}" srcId="{6A6ADFD0-3069-49EC-9C17-8A49F4AC496C}" destId="{C08AD8B6-F84A-44F8-9906-EC1A3675046B}" srcOrd="4" destOrd="0" parTransId="{655D1858-7219-44B0-82D9-CA4AFE9EABA5}" sibTransId="{59B6D85A-7AD1-4899-AAFA-5665E022F6D6}"/>
    <dgm:cxn modelId="{9470B5D3-6E9F-42E2-AE8E-AAB5EC13B936}" type="presOf" srcId="{C08AD8B6-F84A-44F8-9906-EC1A3675046B}" destId="{A5440CAD-7B56-40A7-B4C9-05382780C187}" srcOrd="0" destOrd="0" presId="urn:microsoft.com/office/officeart/2005/8/layout/cycle5"/>
    <dgm:cxn modelId="{9855C223-FC4F-470E-B06C-8BC3E4EDA78A}" srcId="{6A6ADFD0-3069-49EC-9C17-8A49F4AC496C}" destId="{364222B9-F646-4513-A98B-6BF562A9DC1C}" srcOrd="2" destOrd="0" parTransId="{C31F2F59-666A-4E67-A91E-3D559821E6A7}" sibTransId="{767815A4-1274-4C0B-8EB5-CE06A0FAD16F}"/>
    <dgm:cxn modelId="{E6F6C5C3-C03D-40DD-B851-0C906152D911}" srcId="{6A6ADFD0-3069-49EC-9C17-8A49F4AC496C}" destId="{8731ED84-5CDB-4D65-9410-0C3B61474D59}" srcOrd="5" destOrd="0" parTransId="{E5CDC089-EB34-45B4-8F2D-B165C09738C9}" sibTransId="{DE2CC384-1D80-43E3-94E4-D51C2681080E}"/>
    <dgm:cxn modelId="{533B5A1A-D560-494B-83FE-F5B43AD5A3DA}" type="presOf" srcId="{8A4051E6-3DD5-476D-9947-75288968A673}" destId="{C6F8EDA6-00BA-4DB7-9D99-69A83D13A9B9}" srcOrd="0" destOrd="0" presId="urn:microsoft.com/office/officeart/2005/8/layout/cycle5"/>
    <dgm:cxn modelId="{00CAF75F-FE25-4561-9A29-11976431FF78}" type="presOf" srcId="{46605806-3908-4858-8F3D-98954CAF061B}" destId="{34AE218A-DB8B-4FE4-AFDB-769CB67272FA}" srcOrd="0" destOrd="0" presId="urn:microsoft.com/office/officeart/2005/8/layout/cycle5"/>
    <dgm:cxn modelId="{901DEB70-5FE8-404B-BD46-7AC525253089}" type="presOf" srcId="{767815A4-1274-4C0B-8EB5-CE06A0FAD16F}" destId="{99706CBB-BE9C-41F0-BA80-84A361F7FF35}" srcOrd="0" destOrd="0" presId="urn:microsoft.com/office/officeart/2005/8/layout/cycle5"/>
    <dgm:cxn modelId="{CC5DB15D-2687-40DD-8FB2-863631FB9A82}" type="presOf" srcId="{AAAF9010-0B63-42F8-A8DB-D65C102C276A}" destId="{43F0C985-6BEA-4EE3-ACF8-246414156A85}" srcOrd="0" destOrd="0" presId="urn:microsoft.com/office/officeart/2005/8/layout/cycle5"/>
    <dgm:cxn modelId="{89E9AB3C-D53B-41BD-93C9-614EC52EC24E}" type="presOf" srcId="{8A3BC984-0BE5-46A9-9D94-C041A0D697CB}" destId="{08FC8743-277C-4458-9E9C-536E7FAE5D1A}" srcOrd="0" destOrd="0" presId="urn:microsoft.com/office/officeart/2005/8/layout/cycle5"/>
    <dgm:cxn modelId="{CB8981C9-535C-42FA-B148-30514A2B9AA3}" type="presOf" srcId="{5CA8EA22-459F-4D63-AE1D-0FCCFCA59950}" destId="{217ADD57-73B4-4556-852C-90287624A2B8}" srcOrd="0" destOrd="0" presId="urn:microsoft.com/office/officeart/2005/8/layout/cycle5"/>
    <dgm:cxn modelId="{A27132CA-B361-478F-895F-CFF220407C67}" type="presOf" srcId="{59B6D85A-7AD1-4899-AAFA-5665E022F6D6}" destId="{539EB0FB-03B8-4AAF-A871-51FD8E755726}" srcOrd="0" destOrd="0" presId="urn:microsoft.com/office/officeart/2005/8/layout/cycle5"/>
    <dgm:cxn modelId="{22045FB1-89E2-43E5-9F1D-9307DF219306}" type="presOf" srcId="{364222B9-F646-4513-A98B-6BF562A9DC1C}" destId="{6C821FF8-0C56-4B63-A802-6F80701DB73E}" srcOrd="0" destOrd="0" presId="urn:microsoft.com/office/officeart/2005/8/layout/cycle5"/>
    <dgm:cxn modelId="{FFF12B56-06DB-47F1-925A-2827BF7AD580}" srcId="{6A6ADFD0-3069-49EC-9C17-8A49F4AC496C}" destId="{46605806-3908-4858-8F3D-98954CAF061B}" srcOrd="0" destOrd="0" parTransId="{1D7D86CB-6318-4CD1-940D-8CFB11A68F72}" sibTransId="{6EF72E3B-D799-438E-BBF8-81D95C0CA34C}"/>
    <dgm:cxn modelId="{E3AEF970-78FC-4611-A9C9-534788B24588}" srcId="{6A6ADFD0-3069-49EC-9C17-8A49F4AC496C}" destId="{5CA8EA22-459F-4D63-AE1D-0FCCFCA59950}" srcOrd="1" destOrd="0" parTransId="{6A839719-C0DA-4429-BB5D-DCCB1FAD7C91}" sibTransId="{8A3BC984-0BE5-46A9-9D94-C041A0D697CB}"/>
    <dgm:cxn modelId="{D7DF31F3-B794-45DA-93EE-92DEEEE4DF1C}" type="presParOf" srcId="{4214AB51-B4AF-4789-9999-ADEE537A9951}" destId="{34AE218A-DB8B-4FE4-AFDB-769CB67272FA}" srcOrd="0" destOrd="0" presId="urn:microsoft.com/office/officeart/2005/8/layout/cycle5"/>
    <dgm:cxn modelId="{F73A4C58-92B3-4E44-AC4F-DEEAB77914E5}" type="presParOf" srcId="{4214AB51-B4AF-4789-9999-ADEE537A9951}" destId="{F5D924F3-8D7D-400C-B311-E37C2E17C814}" srcOrd="1" destOrd="0" presId="urn:microsoft.com/office/officeart/2005/8/layout/cycle5"/>
    <dgm:cxn modelId="{716DC58B-1578-4728-8DB3-213932C96306}" type="presParOf" srcId="{4214AB51-B4AF-4789-9999-ADEE537A9951}" destId="{234374EA-3F8B-4263-ADFF-9785F3D58647}" srcOrd="2" destOrd="0" presId="urn:microsoft.com/office/officeart/2005/8/layout/cycle5"/>
    <dgm:cxn modelId="{EE03596B-B1A2-4014-987E-5CCED0C299A2}" type="presParOf" srcId="{4214AB51-B4AF-4789-9999-ADEE537A9951}" destId="{217ADD57-73B4-4556-852C-90287624A2B8}" srcOrd="3" destOrd="0" presId="urn:microsoft.com/office/officeart/2005/8/layout/cycle5"/>
    <dgm:cxn modelId="{D5D83D1B-9638-454A-97FA-FAEB04BA0FDD}" type="presParOf" srcId="{4214AB51-B4AF-4789-9999-ADEE537A9951}" destId="{FE1481BA-5481-42ED-BC67-CC5F17447140}" srcOrd="4" destOrd="0" presId="urn:microsoft.com/office/officeart/2005/8/layout/cycle5"/>
    <dgm:cxn modelId="{57CFAB89-9987-4CA2-BB75-6D20985388A7}" type="presParOf" srcId="{4214AB51-B4AF-4789-9999-ADEE537A9951}" destId="{08FC8743-277C-4458-9E9C-536E7FAE5D1A}" srcOrd="5" destOrd="0" presId="urn:microsoft.com/office/officeart/2005/8/layout/cycle5"/>
    <dgm:cxn modelId="{504049C1-6444-4EF3-8108-69250E400A7D}" type="presParOf" srcId="{4214AB51-B4AF-4789-9999-ADEE537A9951}" destId="{6C821FF8-0C56-4B63-A802-6F80701DB73E}" srcOrd="6" destOrd="0" presId="urn:microsoft.com/office/officeart/2005/8/layout/cycle5"/>
    <dgm:cxn modelId="{FFE1D36A-0830-4C66-B46E-0EC7781A6720}" type="presParOf" srcId="{4214AB51-B4AF-4789-9999-ADEE537A9951}" destId="{9D5B190B-FB0C-45AD-9060-FBE94048ADBC}" srcOrd="7" destOrd="0" presId="urn:microsoft.com/office/officeart/2005/8/layout/cycle5"/>
    <dgm:cxn modelId="{F17040E5-83B2-4AB3-B8BA-BC8D6BFB5C9D}" type="presParOf" srcId="{4214AB51-B4AF-4789-9999-ADEE537A9951}" destId="{99706CBB-BE9C-41F0-BA80-84A361F7FF35}" srcOrd="8" destOrd="0" presId="urn:microsoft.com/office/officeart/2005/8/layout/cycle5"/>
    <dgm:cxn modelId="{025A2D84-45CE-42B8-9FAC-A509107366C4}" type="presParOf" srcId="{4214AB51-B4AF-4789-9999-ADEE537A9951}" destId="{C6F8EDA6-00BA-4DB7-9D99-69A83D13A9B9}" srcOrd="9" destOrd="0" presId="urn:microsoft.com/office/officeart/2005/8/layout/cycle5"/>
    <dgm:cxn modelId="{40B4786C-5202-46A0-A57D-073F7351E053}" type="presParOf" srcId="{4214AB51-B4AF-4789-9999-ADEE537A9951}" destId="{AAF42E7B-33A9-4A8C-8DD4-2495EF2FA52F}" srcOrd="10" destOrd="0" presId="urn:microsoft.com/office/officeart/2005/8/layout/cycle5"/>
    <dgm:cxn modelId="{4BD45159-0D87-499C-9D9B-20FFACA1CD35}" type="presParOf" srcId="{4214AB51-B4AF-4789-9999-ADEE537A9951}" destId="{43F0C985-6BEA-4EE3-ACF8-246414156A85}" srcOrd="11" destOrd="0" presId="urn:microsoft.com/office/officeart/2005/8/layout/cycle5"/>
    <dgm:cxn modelId="{38B41DE7-209A-41C1-AB74-AF9EF19213DA}" type="presParOf" srcId="{4214AB51-B4AF-4789-9999-ADEE537A9951}" destId="{A5440CAD-7B56-40A7-B4C9-05382780C187}" srcOrd="12" destOrd="0" presId="urn:microsoft.com/office/officeart/2005/8/layout/cycle5"/>
    <dgm:cxn modelId="{8F7BE05F-8AD9-47BD-B5BA-F42382624BD2}" type="presParOf" srcId="{4214AB51-B4AF-4789-9999-ADEE537A9951}" destId="{499E7F2C-5B86-4A93-B5B4-18F4EAD692E9}" srcOrd="13" destOrd="0" presId="urn:microsoft.com/office/officeart/2005/8/layout/cycle5"/>
    <dgm:cxn modelId="{14D1ABBB-9DCC-412D-AF12-D04A79BB2F0A}" type="presParOf" srcId="{4214AB51-B4AF-4789-9999-ADEE537A9951}" destId="{539EB0FB-03B8-4AAF-A871-51FD8E755726}" srcOrd="14" destOrd="0" presId="urn:microsoft.com/office/officeart/2005/8/layout/cycle5"/>
    <dgm:cxn modelId="{5127109B-21E5-4D7C-BDE5-8DEA3F235ECB}" type="presParOf" srcId="{4214AB51-B4AF-4789-9999-ADEE537A9951}" destId="{99F8F546-3419-4283-987B-61B36119B79F}" srcOrd="15" destOrd="0" presId="urn:microsoft.com/office/officeart/2005/8/layout/cycle5"/>
    <dgm:cxn modelId="{90B546B9-7F7D-4601-9786-6EEF92A461BC}" type="presParOf" srcId="{4214AB51-B4AF-4789-9999-ADEE537A9951}" destId="{0BDA71C5-B78F-4196-92BB-159F69E48335}" srcOrd="16" destOrd="0" presId="urn:microsoft.com/office/officeart/2005/8/layout/cycle5"/>
    <dgm:cxn modelId="{7C649A99-3D33-4454-A24D-6B716D317D92}" type="presParOf" srcId="{4214AB51-B4AF-4789-9999-ADEE537A9951}" destId="{3A200339-45BD-49BA-AFBF-7AD3C6D32142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34F8C5E-7AC2-43EE-B9EB-0D473395C1B2}" type="doc">
      <dgm:prSet loTypeId="urn:microsoft.com/office/officeart/2005/8/layout/orgChart1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DFB52242-C45C-4F8B-BC21-A9617C559EC3}">
      <dgm:prSet phldrT="[Text]" custT="1"/>
      <dgm:spPr>
        <a:solidFill>
          <a:schemeClr val="tx2">
            <a:lumMod val="75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20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2000" dirty="0"/>
        </a:p>
      </dgm:t>
    </dgm:pt>
    <dgm:pt modelId="{67D21C2F-EE6F-4332-A802-3E6C1313BFF0}" type="parTrans" cxnId="{F1F3B747-8A88-415A-A24B-1D30948772A6}">
      <dgm:prSet/>
      <dgm:spPr/>
      <dgm:t>
        <a:bodyPr/>
        <a:lstStyle/>
        <a:p>
          <a:endParaRPr lang="de-DE" sz="1200"/>
        </a:p>
      </dgm:t>
    </dgm:pt>
    <dgm:pt modelId="{79BC229C-D6CA-4C9E-857E-22C1F8E84C25}" type="sibTrans" cxnId="{F1F3B747-8A88-415A-A24B-1D30948772A6}">
      <dgm:prSet/>
      <dgm:spPr/>
      <dgm:t>
        <a:bodyPr/>
        <a:lstStyle/>
        <a:p>
          <a:endParaRPr lang="de-DE" sz="1200"/>
        </a:p>
      </dgm:t>
    </dgm:pt>
    <dgm:pt modelId="{33E66B64-6E74-44DE-876E-1FA911254E01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0DBC8291-3A5C-47D9-A81F-F6EEFDC5E312}" type="parTrans" cxnId="{D38CBFAA-B233-447B-9937-EC1ED628D349}">
      <dgm:prSet/>
      <dgm:spPr/>
      <dgm:t>
        <a:bodyPr/>
        <a:lstStyle/>
        <a:p>
          <a:endParaRPr lang="de-DE" sz="1200"/>
        </a:p>
      </dgm:t>
    </dgm:pt>
    <dgm:pt modelId="{1BF0774C-027E-4517-AA93-28E5267BC84C}" type="sibTrans" cxnId="{D38CBFAA-B233-447B-9937-EC1ED628D349}">
      <dgm:prSet/>
      <dgm:spPr/>
      <dgm:t>
        <a:bodyPr/>
        <a:lstStyle/>
        <a:p>
          <a:endParaRPr lang="de-DE" sz="1200"/>
        </a:p>
      </dgm:t>
    </dgm:pt>
    <dgm:pt modelId="{7EE2D50C-EFBC-449F-96DF-CC9AF1BAE878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12611D15-F917-47C7-8B37-BBA3E615FBB1}" type="parTrans" cxnId="{A0D0D87F-AB78-4B4B-95B8-7A2BD209D7D6}">
      <dgm:prSet/>
      <dgm:spPr/>
      <dgm:t>
        <a:bodyPr/>
        <a:lstStyle/>
        <a:p>
          <a:endParaRPr lang="de-DE" sz="1200"/>
        </a:p>
      </dgm:t>
    </dgm:pt>
    <dgm:pt modelId="{ED315AD2-FA35-4689-90E1-EEBB0CAC1FFA}" type="sibTrans" cxnId="{A0D0D87F-AB78-4B4B-95B8-7A2BD209D7D6}">
      <dgm:prSet/>
      <dgm:spPr/>
      <dgm:t>
        <a:bodyPr/>
        <a:lstStyle/>
        <a:p>
          <a:endParaRPr lang="de-DE" sz="1200"/>
        </a:p>
      </dgm:t>
    </dgm:pt>
    <dgm:pt modelId="{0AC6C2A4-6BED-48FC-8894-ED24E24D33E1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E88B7E5F-710F-416F-90D5-6B28E2DE0DA6}" type="parTrans" cxnId="{B8B0B6D2-75B9-4643-BB82-545B25C2D3F5}">
      <dgm:prSet/>
      <dgm:spPr/>
      <dgm:t>
        <a:bodyPr/>
        <a:lstStyle/>
        <a:p>
          <a:endParaRPr lang="de-DE" sz="1200"/>
        </a:p>
      </dgm:t>
    </dgm:pt>
    <dgm:pt modelId="{4B74E639-2B57-48A0-B40C-63FBBE05A4B1}" type="sibTrans" cxnId="{B8B0B6D2-75B9-4643-BB82-545B25C2D3F5}">
      <dgm:prSet/>
      <dgm:spPr/>
      <dgm:t>
        <a:bodyPr/>
        <a:lstStyle/>
        <a:p>
          <a:endParaRPr lang="de-DE" sz="1200"/>
        </a:p>
      </dgm:t>
    </dgm:pt>
    <dgm:pt modelId="{05A548B1-80FA-40BF-BEDE-4060D5C1BF60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D83A70C6-450B-4F71-8BDB-A7200F66657F}" type="parTrans" cxnId="{099D0682-4856-44E8-BA74-895D98A236A2}">
      <dgm:prSet/>
      <dgm:spPr/>
      <dgm:t>
        <a:bodyPr/>
        <a:lstStyle/>
        <a:p>
          <a:endParaRPr lang="de-DE" sz="1200"/>
        </a:p>
      </dgm:t>
    </dgm:pt>
    <dgm:pt modelId="{5599F70C-FFC8-4B2A-B1E3-3756692D0CD3}" type="sibTrans" cxnId="{099D0682-4856-44E8-BA74-895D98A236A2}">
      <dgm:prSet/>
      <dgm:spPr/>
      <dgm:t>
        <a:bodyPr/>
        <a:lstStyle/>
        <a:p>
          <a:endParaRPr lang="de-DE" sz="1200"/>
        </a:p>
      </dgm:t>
    </dgm:pt>
    <dgm:pt modelId="{F8F62D1D-6565-4E47-A767-CEB4D952A0E3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97CAC142-BB2B-4F4A-AE6C-932A2B3337FA}" type="parTrans" cxnId="{1D0CCE76-EACE-4C4F-BD2A-C2E7C9222A3B}">
      <dgm:prSet/>
      <dgm:spPr/>
      <dgm:t>
        <a:bodyPr/>
        <a:lstStyle/>
        <a:p>
          <a:endParaRPr lang="de-DE" sz="1200"/>
        </a:p>
      </dgm:t>
    </dgm:pt>
    <dgm:pt modelId="{949C7645-28C8-492D-BA6D-F183A42A091A}" type="sibTrans" cxnId="{1D0CCE76-EACE-4C4F-BD2A-C2E7C9222A3B}">
      <dgm:prSet/>
      <dgm:spPr/>
      <dgm:t>
        <a:bodyPr/>
        <a:lstStyle/>
        <a:p>
          <a:endParaRPr lang="de-DE" sz="1200"/>
        </a:p>
      </dgm:t>
    </dgm:pt>
    <dgm:pt modelId="{95A636E5-54B3-48BA-A704-0D2C81719527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dirty="0"/>
        </a:p>
      </dgm:t>
    </dgm:pt>
    <dgm:pt modelId="{C64EFC2C-0CA5-4A76-9DBB-81066CF11A8C}" type="parTrans" cxnId="{9319F167-FCD2-4388-8869-D860B72D38EC}">
      <dgm:prSet/>
      <dgm:spPr/>
      <dgm:t>
        <a:bodyPr/>
        <a:lstStyle/>
        <a:p>
          <a:endParaRPr lang="de-DE" sz="1200"/>
        </a:p>
      </dgm:t>
    </dgm:pt>
    <dgm:pt modelId="{5B3FECA4-6ECE-477B-99FA-AF144DEA5166}" type="sibTrans" cxnId="{9319F167-FCD2-4388-8869-D860B72D38EC}">
      <dgm:prSet/>
      <dgm:spPr/>
      <dgm:t>
        <a:bodyPr/>
        <a:lstStyle/>
        <a:p>
          <a:endParaRPr lang="de-DE" sz="1200"/>
        </a:p>
      </dgm:t>
    </dgm:pt>
    <dgm:pt modelId="{C33F1A44-8DAA-4D90-8C0C-8119608E357B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6BC40865-0725-44DD-A2E4-79F7DBF8AE2B}" type="parTrans" cxnId="{40BC842E-E4AE-4903-80B6-AFBF8D724161}">
      <dgm:prSet/>
      <dgm:spPr/>
      <dgm:t>
        <a:bodyPr/>
        <a:lstStyle/>
        <a:p>
          <a:endParaRPr lang="de-DE" sz="1200"/>
        </a:p>
      </dgm:t>
    </dgm:pt>
    <dgm:pt modelId="{C767D3FB-F6D9-4760-ABA0-6BB3916B4BA5}" type="sibTrans" cxnId="{40BC842E-E4AE-4903-80B6-AFBF8D724161}">
      <dgm:prSet/>
      <dgm:spPr/>
      <dgm:t>
        <a:bodyPr/>
        <a:lstStyle/>
        <a:p>
          <a:endParaRPr lang="de-DE" sz="1200"/>
        </a:p>
      </dgm:t>
    </dgm:pt>
    <dgm:pt modelId="{3B5C7E1A-5C60-40D4-BF51-D9770E4872A4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A4210927-DBFA-4946-AA51-7213DDBF72CE}" type="parTrans" cxnId="{EFC52D26-03E6-45F4-9CD2-4027E8F00BB0}">
      <dgm:prSet/>
      <dgm:spPr/>
      <dgm:t>
        <a:bodyPr/>
        <a:lstStyle/>
        <a:p>
          <a:endParaRPr lang="de-DE" sz="1200"/>
        </a:p>
      </dgm:t>
    </dgm:pt>
    <dgm:pt modelId="{D9782C66-A0DA-464F-8280-78A310707C01}" type="sibTrans" cxnId="{EFC52D26-03E6-45F4-9CD2-4027E8F00BB0}">
      <dgm:prSet/>
      <dgm:spPr/>
      <dgm:t>
        <a:bodyPr/>
        <a:lstStyle/>
        <a:p>
          <a:endParaRPr lang="de-DE" sz="1200"/>
        </a:p>
      </dgm:t>
    </dgm:pt>
    <dgm:pt modelId="{8A0568B5-46CD-4CDF-B0BB-CE7E9C113AD7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BF342A1C-6149-4314-9CDB-CDEEEB049314}" type="parTrans" cxnId="{2D9D3C9C-BA33-4B05-AF3F-B38F8975DF6B}">
      <dgm:prSet/>
      <dgm:spPr/>
      <dgm:t>
        <a:bodyPr/>
        <a:lstStyle/>
        <a:p>
          <a:endParaRPr lang="de-DE" sz="1200"/>
        </a:p>
      </dgm:t>
    </dgm:pt>
    <dgm:pt modelId="{58283866-1B85-4CF7-80A0-776CB535B85E}" type="sibTrans" cxnId="{2D9D3C9C-BA33-4B05-AF3F-B38F8975DF6B}">
      <dgm:prSet/>
      <dgm:spPr/>
      <dgm:t>
        <a:bodyPr/>
        <a:lstStyle/>
        <a:p>
          <a:endParaRPr lang="de-DE" sz="1200"/>
        </a:p>
      </dgm:t>
    </dgm:pt>
    <dgm:pt modelId="{5C47D26A-0343-43C2-9A55-C28F6DA276A3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81E6D77D-0805-4FC5-943C-D07FA7C9D673}" type="parTrans" cxnId="{F248A320-90E2-4D87-B4ED-8E8BBAE56AB3}">
      <dgm:prSet/>
      <dgm:spPr/>
      <dgm:t>
        <a:bodyPr/>
        <a:lstStyle/>
        <a:p>
          <a:endParaRPr lang="de-DE" sz="1200"/>
        </a:p>
      </dgm:t>
    </dgm:pt>
    <dgm:pt modelId="{FD4952D9-90A9-4318-BD48-99160EFC9733}" type="sibTrans" cxnId="{F248A320-90E2-4D87-B4ED-8E8BBAE56AB3}">
      <dgm:prSet/>
      <dgm:spPr/>
      <dgm:t>
        <a:bodyPr/>
        <a:lstStyle/>
        <a:p>
          <a:endParaRPr lang="de-DE" sz="1200"/>
        </a:p>
      </dgm:t>
    </dgm:pt>
    <dgm:pt modelId="{F7027F70-D586-4157-8F62-8F0DC1139918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4F110685-2E6F-40AC-9E36-61679D0FA509}" type="parTrans" cxnId="{9F79F4BC-E966-4DD7-8651-747B65644B02}">
      <dgm:prSet/>
      <dgm:spPr/>
      <dgm:t>
        <a:bodyPr/>
        <a:lstStyle/>
        <a:p>
          <a:endParaRPr lang="de-DE" sz="1200"/>
        </a:p>
      </dgm:t>
    </dgm:pt>
    <dgm:pt modelId="{34B2FA83-DDCC-4DB0-8204-B3144430C392}" type="sibTrans" cxnId="{9F79F4BC-E966-4DD7-8651-747B65644B02}">
      <dgm:prSet/>
      <dgm:spPr/>
      <dgm:t>
        <a:bodyPr/>
        <a:lstStyle/>
        <a:p>
          <a:endParaRPr lang="de-DE" sz="1200"/>
        </a:p>
      </dgm:t>
    </dgm:pt>
    <dgm:pt modelId="{B2083AA6-3666-4057-BEBE-35FB8FB99D3A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2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200" b="0" dirty="0"/>
        </a:p>
      </dgm:t>
    </dgm:pt>
    <dgm:pt modelId="{338CCEBA-E23E-4173-BADA-DFB8AD9DDA51}" type="parTrans" cxnId="{F26AFB62-00DC-491E-B863-CB4D13B596F5}">
      <dgm:prSet/>
      <dgm:spPr/>
      <dgm:t>
        <a:bodyPr/>
        <a:lstStyle/>
        <a:p>
          <a:endParaRPr lang="de-DE" sz="1200"/>
        </a:p>
      </dgm:t>
    </dgm:pt>
    <dgm:pt modelId="{42DA0234-FF9E-4238-9568-B1943C1EC401}" type="sibTrans" cxnId="{F26AFB62-00DC-491E-B863-CB4D13B596F5}">
      <dgm:prSet/>
      <dgm:spPr/>
      <dgm:t>
        <a:bodyPr/>
        <a:lstStyle/>
        <a:p>
          <a:endParaRPr lang="de-DE" sz="1200"/>
        </a:p>
      </dgm:t>
    </dgm:pt>
    <dgm:pt modelId="{29B8F07C-C1B0-4C61-85FE-2BA0FC48FD0C}" type="pres">
      <dgm:prSet presAssocID="{434F8C5E-7AC2-43EE-B9EB-0D473395C1B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5312C250-F000-4B5F-9828-5F1C910BF5D1}" type="pres">
      <dgm:prSet presAssocID="{DFB52242-C45C-4F8B-BC21-A9617C559EC3}" presName="hierRoot1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822F9EA6-DD2E-45AC-B8E5-7519527B6576}" type="pres">
      <dgm:prSet presAssocID="{DFB52242-C45C-4F8B-BC21-A9617C559EC3}" presName="rootComposite1" presStyleCnt="0"/>
      <dgm:spPr/>
      <dgm:t>
        <a:bodyPr/>
        <a:lstStyle/>
        <a:p>
          <a:endParaRPr lang="de-DE"/>
        </a:p>
      </dgm:t>
    </dgm:pt>
    <dgm:pt modelId="{07171A82-F0A9-43B4-8A8D-86F648FE3FC5}" type="pres">
      <dgm:prSet presAssocID="{DFB52242-C45C-4F8B-BC21-A9617C559EC3}" presName="rootText1" presStyleLbl="node0" presStyleIdx="0" presStyleCnt="1" custScaleX="245599" custScaleY="12660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C18C9D2D-2884-4929-B413-428F0EB3E4D7}" type="pres">
      <dgm:prSet presAssocID="{DFB52242-C45C-4F8B-BC21-A9617C559EC3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63EE8D-3329-4158-9A18-45D1A4F20746}" type="pres">
      <dgm:prSet presAssocID="{DFB52242-C45C-4F8B-BC21-A9617C559EC3}" presName="hierChild2" presStyleCnt="0"/>
      <dgm:spPr/>
      <dgm:t>
        <a:bodyPr/>
        <a:lstStyle/>
        <a:p>
          <a:endParaRPr lang="de-DE"/>
        </a:p>
      </dgm:t>
    </dgm:pt>
    <dgm:pt modelId="{C9AAB3D7-5DBA-43CA-81FE-06D8E8B98B93}" type="pres">
      <dgm:prSet presAssocID="{0DBC8291-3A5C-47D9-A81F-F6EEFDC5E312}" presName="Name37" presStyleLbl="parChTrans1D2" presStyleIdx="0" presStyleCnt="6"/>
      <dgm:spPr/>
      <dgm:t>
        <a:bodyPr/>
        <a:lstStyle/>
        <a:p>
          <a:endParaRPr lang="de-DE"/>
        </a:p>
      </dgm:t>
    </dgm:pt>
    <dgm:pt modelId="{495975A5-163E-47F4-9186-67ED8F2D7F52}" type="pres">
      <dgm:prSet presAssocID="{33E66B64-6E74-44DE-876E-1FA911254E01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8F90ADAE-9D8A-401B-8B34-26DEDBF6750F}" type="pres">
      <dgm:prSet presAssocID="{33E66B64-6E74-44DE-876E-1FA911254E01}" presName="rootComposite" presStyleCnt="0"/>
      <dgm:spPr/>
      <dgm:t>
        <a:bodyPr/>
        <a:lstStyle/>
        <a:p>
          <a:endParaRPr lang="de-DE"/>
        </a:p>
      </dgm:t>
    </dgm:pt>
    <dgm:pt modelId="{7217DE03-7A2E-4DF8-86CB-D5F9E44A64ED}" type="pres">
      <dgm:prSet presAssocID="{33E66B64-6E74-44DE-876E-1FA911254E01}" presName="rootText" presStyleLbl="node2" presStyleIdx="0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A1E6F5F9-89CF-4E3B-90F2-7CC2BBBAC18B}" type="pres">
      <dgm:prSet presAssocID="{33E66B64-6E74-44DE-876E-1FA911254E01}" presName="rootConnector" presStyleLbl="node2" presStyleIdx="0" presStyleCnt="6"/>
      <dgm:spPr/>
      <dgm:t>
        <a:bodyPr/>
        <a:lstStyle/>
        <a:p>
          <a:endParaRPr lang="de-DE"/>
        </a:p>
      </dgm:t>
    </dgm:pt>
    <dgm:pt modelId="{232C56B1-7F70-4528-ADA6-EB6B8C60E678}" type="pres">
      <dgm:prSet presAssocID="{33E66B64-6E74-44DE-876E-1FA911254E01}" presName="hierChild4" presStyleCnt="0"/>
      <dgm:spPr/>
      <dgm:t>
        <a:bodyPr/>
        <a:lstStyle/>
        <a:p>
          <a:endParaRPr lang="de-DE"/>
        </a:p>
      </dgm:t>
    </dgm:pt>
    <dgm:pt modelId="{59EA2D96-1E1B-4CA6-B497-EF78CFA23C7A}" type="pres">
      <dgm:prSet presAssocID="{6BC40865-0725-44DD-A2E4-79F7DBF8AE2B}" presName="Name37" presStyleLbl="parChTrans1D3" presStyleIdx="0" presStyleCnt="6"/>
      <dgm:spPr/>
      <dgm:t>
        <a:bodyPr/>
        <a:lstStyle/>
        <a:p>
          <a:endParaRPr lang="de-DE"/>
        </a:p>
      </dgm:t>
    </dgm:pt>
    <dgm:pt modelId="{059D06FB-0D47-453D-ABD6-9D3EC1BF72BB}" type="pres">
      <dgm:prSet presAssocID="{C33F1A44-8DAA-4D90-8C0C-8119608E357B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0C3DA4A8-9D6D-483A-9C52-F0549365C8C5}" type="pres">
      <dgm:prSet presAssocID="{C33F1A44-8DAA-4D90-8C0C-8119608E357B}" presName="rootComposite" presStyleCnt="0"/>
      <dgm:spPr/>
      <dgm:t>
        <a:bodyPr/>
        <a:lstStyle/>
        <a:p>
          <a:endParaRPr lang="de-DE"/>
        </a:p>
      </dgm:t>
    </dgm:pt>
    <dgm:pt modelId="{74082AE1-1E68-4E56-8EB6-1FD67BD7CD20}" type="pres">
      <dgm:prSet presAssocID="{C33F1A44-8DAA-4D90-8C0C-8119608E357B}" presName="rootText" presStyleLbl="node3" presStyleIdx="0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0FE8B630-7787-48DD-AB40-245FF603F432}" type="pres">
      <dgm:prSet presAssocID="{C33F1A44-8DAA-4D90-8C0C-8119608E357B}" presName="rootConnector" presStyleLbl="node3" presStyleIdx="0" presStyleCnt="6"/>
      <dgm:spPr/>
      <dgm:t>
        <a:bodyPr/>
        <a:lstStyle/>
        <a:p>
          <a:endParaRPr lang="de-DE"/>
        </a:p>
      </dgm:t>
    </dgm:pt>
    <dgm:pt modelId="{A5AB58D9-C9DD-4E87-9057-B4915F9FE3AD}" type="pres">
      <dgm:prSet presAssocID="{C33F1A44-8DAA-4D90-8C0C-8119608E357B}" presName="hierChild4" presStyleCnt="0"/>
      <dgm:spPr/>
      <dgm:t>
        <a:bodyPr/>
        <a:lstStyle/>
        <a:p>
          <a:endParaRPr lang="de-DE"/>
        </a:p>
      </dgm:t>
    </dgm:pt>
    <dgm:pt modelId="{FD5AC8AA-7EA9-412B-8AE9-88BEC5D58C76}" type="pres">
      <dgm:prSet presAssocID="{C33F1A44-8DAA-4D90-8C0C-8119608E357B}" presName="hierChild5" presStyleCnt="0"/>
      <dgm:spPr/>
      <dgm:t>
        <a:bodyPr/>
        <a:lstStyle/>
        <a:p>
          <a:endParaRPr lang="de-DE"/>
        </a:p>
      </dgm:t>
    </dgm:pt>
    <dgm:pt modelId="{6D9DA4E1-FE62-4B47-9FE7-553E57DCF696}" type="pres">
      <dgm:prSet presAssocID="{33E66B64-6E74-44DE-876E-1FA911254E01}" presName="hierChild5" presStyleCnt="0"/>
      <dgm:spPr/>
      <dgm:t>
        <a:bodyPr/>
        <a:lstStyle/>
        <a:p>
          <a:endParaRPr lang="de-DE"/>
        </a:p>
      </dgm:t>
    </dgm:pt>
    <dgm:pt modelId="{E61D2D5B-9EEA-4483-A3FF-F69627B98927}" type="pres">
      <dgm:prSet presAssocID="{12611D15-F917-47C7-8B37-BBA3E615FBB1}" presName="Name37" presStyleLbl="parChTrans1D2" presStyleIdx="1" presStyleCnt="6"/>
      <dgm:spPr/>
      <dgm:t>
        <a:bodyPr/>
        <a:lstStyle/>
        <a:p>
          <a:endParaRPr lang="de-DE"/>
        </a:p>
      </dgm:t>
    </dgm:pt>
    <dgm:pt modelId="{AF0394B7-1F6E-41A6-822F-1B696F6C11E4}" type="pres">
      <dgm:prSet presAssocID="{7EE2D50C-EFBC-449F-96DF-CC9AF1BAE878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8B74D52E-E039-42C4-8025-EB18A7543B3C}" type="pres">
      <dgm:prSet presAssocID="{7EE2D50C-EFBC-449F-96DF-CC9AF1BAE878}" presName="rootComposite" presStyleCnt="0"/>
      <dgm:spPr/>
      <dgm:t>
        <a:bodyPr/>
        <a:lstStyle/>
        <a:p>
          <a:endParaRPr lang="de-DE"/>
        </a:p>
      </dgm:t>
    </dgm:pt>
    <dgm:pt modelId="{291E1891-BE38-46D3-ACD5-CDCA5615E63E}" type="pres">
      <dgm:prSet presAssocID="{7EE2D50C-EFBC-449F-96DF-CC9AF1BAE878}" presName="rootText" presStyleLbl="node2" presStyleIdx="1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DD5388AE-0329-41E3-8831-3831C22D5E55}" type="pres">
      <dgm:prSet presAssocID="{7EE2D50C-EFBC-449F-96DF-CC9AF1BAE878}" presName="rootConnector" presStyleLbl="node2" presStyleIdx="1" presStyleCnt="6"/>
      <dgm:spPr/>
      <dgm:t>
        <a:bodyPr/>
        <a:lstStyle/>
        <a:p>
          <a:endParaRPr lang="de-DE"/>
        </a:p>
      </dgm:t>
    </dgm:pt>
    <dgm:pt modelId="{4694F6F1-D527-47C8-B8D5-5E1F4D1863C2}" type="pres">
      <dgm:prSet presAssocID="{7EE2D50C-EFBC-449F-96DF-CC9AF1BAE878}" presName="hierChild4" presStyleCnt="0"/>
      <dgm:spPr/>
      <dgm:t>
        <a:bodyPr/>
        <a:lstStyle/>
        <a:p>
          <a:endParaRPr lang="de-DE"/>
        </a:p>
      </dgm:t>
    </dgm:pt>
    <dgm:pt modelId="{22A00BD8-360D-461C-816C-5821F5821BE9}" type="pres">
      <dgm:prSet presAssocID="{A4210927-DBFA-4946-AA51-7213DDBF72CE}" presName="Name37" presStyleLbl="parChTrans1D3" presStyleIdx="1" presStyleCnt="6"/>
      <dgm:spPr/>
      <dgm:t>
        <a:bodyPr/>
        <a:lstStyle/>
        <a:p>
          <a:endParaRPr lang="de-DE"/>
        </a:p>
      </dgm:t>
    </dgm:pt>
    <dgm:pt modelId="{D0ABA355-ED07-48DC-9B43-17DB9D6F186F}" type="pres">
      <dgm:prSet presAssocID="{3B5C7E1A-5C60-40D4-BF51-D9770E4872A4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613276D3-6E27-436B-B236-0F22E4F567EE}" type="pres">
      <dgm:prSet presAssocID="{3B5C7E1A-5C60-40D4-BF51-D9770E4872A4}" presName="rootComposite" presStyleCnt="0"/>
      <dgm:spPr/>
      <dgm:t>
        <a:bodyPr/>
        <a:lstStyle/>
        <a:p>
          <a:endParaRPr lang="de-DE"/>
        </a:p>
      </dgm:t>
    </dgm:pt>
    <dgm:pt modelId="{E46F1C8E-C60E-4B29-B946-2F57B4306E73}" type="pres">
      <dgm:prSet presAssocID="{3B5C7E1A-5C60-40D4-BF51-D9770E4872A4}" presName="rootText" presStyleLbl="node3" presStyleIdx="1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83CF7BD6-FCE5-4748-8B3D-31200D8E9072}" type="pres">
      <dgm:prSet presAssocID="{3B5C7E1A-5C60-40D4-BF51-D9770E4872A4}" presName="rootConnector" presStyleLbl="node3" presStyleIdx="1" presStyleCnt="6"/>
      <dgm:spPr/>
      <dgm:t>
        <a:bodyPr/>
        <a:lstStyle/>
        <a:p>
          <a:endParaRPr lang="de-DE"/>
        </a:p>
      </dgm:t>
    </dgm:pt>
    <dgm:pt modelId="{D52678F5-8D85-43A6-9F41-5D36D2ED368D}" type="pres">
      <dgm:prSet presAssocID="{3B5C7E1A-5C60-40D4-BF51-D9770E4872A4}" presName="hierChild4" presStyleCnt="0"/>
      <dgm:spPr/>
      <dgm:t>
        <a:bodyPr/>
        <a:lstStyle/>
        <a:p>
          <a:endParaRPr lang="de-DE"/>
        </a:p>
      </dgm:t>
    </dgm:pt>
    <dgm:pt modelId="{C63B5B46-0D2C-4634-B1AA-F425E8D566A8}" type="pres">
      <dgm:prSet presAssocID="{3B5C7E1A-5C60-40D4-BF51-D9770E4872A4}" presName="hierChild5" presStyleCnt="0"/>
      <dgm:spPr/>
      <dgm:t>
        <a:bodyPr/>
        <a:lstStyle/>
        <a:p>
          <a:endParaRPr lang="de-DE"/>
        </a:p>
      </dgm:t>
    </dgm:pt>
    <dgm:pt modelId="{A26B4BB0-3495-4BAB-8442-4EA17DB40535}" type="pres">
      <dgm:prSet presAssocID="{7EE2D50C-EFBC-449F-96DF-CC9AF1BAE878}" presName="hierChild5" presStyleCnt="0"/>
      <dgm:spPr/>
      <dgm:t>
        <a:bodyPr/>
        <a:lstStyle/>
        <a:p>
          <a:endParaRPr lang="de-DE"/>
        </a:p>
      </dgm:t>
    </dgm:pt>
    <dgm:pt modelId="{68020281-A113-4B79-8F96-6FB3BB32CE20}" type="pres">
      <dgm:prSet presAssocID="{E88B7E5F-710F-416F-90D5-6B28E2DE0DA6}" presName="Name37" presStyleLbl="parChTrans1D2" presStyleIdx="2" presStyleCnt="6"/>
      <dgm:spPr/>
      <dgm:t>
        <a:bodyPr/>
        <a:lstStyle/>
        <a:p>
          <a:endParaRPr lang="de-DE"/>
        </a:p>
      </dgm:t>
    </dgm:pt>
    <dgm:pt modelId="{C8EA958B-10B8-45C4-8C2C-DB1B9FBF2B5F}" type="pres">
      <dgm:prSet presAssocID="{0AC6C2A4-6BED-48FC-8894-ED24E24D33E1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A55E420A-6B2F-49A7-A8A6-E6638C1486D9}" type="pres">
      <dgm:prSet presAssocID="{0AC6C2A4-6BED-48FC-8894-ED24E24D33E1}" presName="rootComposite" presStyleCnt="0"/>
      <dgm:spPr/>
      <dgm:t>
        <a:bodyPr/>
        <a:lstStyle/>
        <a:p>
          <a:endParaRPr lang="de-DE"/>
        </a:p>
      </dgm:t>
    </dgm:pt>
    <dgm:pt modelId="{8F671873-CB6A-4DC1-8C50-CE43B58A2C9A}" type="pres">
      <dgm:prSet presAssocID="{0AC6C2A4-6BED-48FC-8894-ED24E24D33E1}" presName="rootText" presStyleLbl="node2" presStyleIdx="2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FF282C5E-30E4-4801-B29A-E8D4F93B3C7A}" type="pres">
      <dgm:prSet presAssocID="{0AC6C2A4-6BED-48FC-8894-ED24E24D33E1}" presName="rootConnector" presStyleLbl="node2" presStyleIdx="2" presStyleCnt="6"/>
      <dgm:spPr/>
      <dgm:t>
        <a:bodyPr/>
        <a:lstStyle/>
        <a:p>
          <a:endParaRPr lang="de-DE"/>
        </a:p>
      </dgm:t>
    </dgm:pt>
    <dgm:pt modelId="{6C4B36C6-C542-4F1C-8833-8F3298ECCB4C}" type="pres">
      <dgm:prSet presAssocID="{0AC6C2A4-6BED-48FC-8894-ED24E24D33E1}" presName="hierChild4" presStyleCnt="0"/>
      <dgm:spPr/>
      <dgm:t>
        <a:bodyPr/>
        <a:lstStyle/>
        <a:p>
          <a:endParaRPr lang="de-DE"/>
        </a:p>
      </dgm:t>
    </dgm:pt>
    <dgm:pt modelId="{359F45F2-37E0-493F-994A-06A78DF1913C}" type="pres">
      <dgm:prSet presAssocID="{BF342A1C-6149-4314-9CDB-CDEEEB049314}" presName="Name37" presStyleLbl="parChTrans1D3" presStyleIdx="2" presStyleCnt="6"/>
      <dgm:spPr/>
      <dgm:t>
        <a:bodyPr/>
        <a:lstStyle/>
        <a:p>
          <a:endParaRPr lang="de-DE"/>
        </a:p>
      </dgm:t>
    </dgm:pt>
    <dgm:pt modelId="{9DB6FB75-1F8B-473F-B617-C217C3286954}" type="pres">
      <dgm:prSet presAssocID="{8A0568B5-46CD-4CDF-B0BB-CE7E9C113AD7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2F3014CF-96BD-4182-B848-FFDF6F53ED15}" type="pres">
      <dgm:prSet presAssocID="{8A0568B5-46CD-4CDF-B0BB-CE7E9C113AD7}" presName="rootComposite" presStyleCnt="0"/>
      <dgm:spPr/>
      <dgm:t>
        <a:bodyPr/>
        <a:lstStyle/>
        <a:p>
          <a:endParaRPr lang="de-DE"/>
        </a:p>
      </dgm:t>
    </dgm:pt>
    <dgm:pt modelId="{7A0524D7-3DAC-4521-815B-66453C0B6CD6}" type="pres">
      <dgm:prSet presAssocID="{8A0568B5-46CD-4CDF-B0BB-CE7E9C113AD7}" presName="rootText" presStyleLbl="node3" presStyleIdx="2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37BA9D32-C4D4-4B2E-AD6C-82A3E45F3650}" type="pres">
      <dgm:prSet presAssocID="{8A0568B5-46CD-4CDF-B0BB-CE7E9C113AD7}" presName="rootConnector" presStyleLbl="node3" presStyleIdx="2" presStyleCnt="6"/>
      <dgm:spPr/>
      <dgm:t>
        <a:bodyPr/>
        <a:lstStyle/>
        <a:p>
          <a:endParaRPr lang="de-DE"/>
        </a:p>
      </dgm:t>
    </dgm:pt>
    <dgm:pt modelId="{D99E0E36-690A-45B6-800A-EF53E20DF345}" type="pres">
      <dgm:prSet presAssocID="{8A0568B5-46CD-4CDF-B0BB-CE7E9C113AD7}" presName="hierChild4" presStyleCnt="0"/>
      <dgm:spPr/>
      <dgm:t>
        <a:bodyPr/>
        <a:lstStyle/>
        <a:p>
          <a:endParaRPr lang="de-DE"/>
        </a:p>
      </dgm:t>
    </dgm:pt>
    <dgm:pt modelId="{E453CBB5-5417-4607-9BFE-01C4C92C277B}" type="pres">
      <dgm:prSet presAssocID="{8A0568B5-46CD-4CDF-B0BB-CE7E9C113AD7}" presName="hierChild5" presStyleCnt="0"/>
      <dgm:spPr/>
      <dgm:t>
        <a:bodyPr/>
        <a:lstStyle/>
        <a:p>
          <a:endParaRPr lang="de-DE"/>
        </a:p>
      </dgm:t>
    </dgm:pt>
    <dgm:pt modelId="{5018309A-BF9D-4C8E-B735-D7416727EA5B}" type="pres">
      <dgm:prSet presAssocID="{0AC6C2A4-6BED-48FC-8894-ED24E24D33E1}" presName="hierChild5" presStyleCnt="0"/>
      <dgm:spPr/>
      <dgm:t>
        <a:bodyPr/>
        <a:lstStyle/>
        <a:p>
          <a:endParaRPr lang="de-DE"/>
        </a:p>
      </dgm:t>
    </dgm:pt>
    <dgm:pt modelId="{2E7556F9-9BD7-4AA5-8DAA-1DC71E47EFE0}" type="pres">
      <dgm:prSet presAssocID="{D83A70C6-450B-4F71-8BDB-A7200F66657F}" presName="Name37" presStyleLbl="parChTrans1D2" presStyleIdx="3" presStyleCnt="6"/>
      <dgm:spPr/>
      <dgm:t>
        <a:bodyPr/>
        <a:lstStyle/>
        <a:p>
          <a:endParaRPr lang="de-DE"/>
        </a:p>
      </dgm:t>
    </dgm:pt>
    <dgm:pt modelId="{22528ABE-B486-44F3-B618-5020EB521238}" type="pres">
      <dgm:prSet presAssocID="{05A548B1-80FA-40BF-BEDE-4060D5C1BF60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96A0E764-64DC-416B-BEB9-243BBBB53DF0}" type="pres">
      <dgm:prSet presAssocID="{05A548B1-80FA-40BF-BEDE-4060D5C1BF60}" presName="rootComposite" presStyleCnt="0"/>
      <dgm:spPr/>
      <dgm:t>
        <a:bodyPr/>
        <a:lstStyle/>
        <a:p>
          <a:endParaRPr lang="de-DE"/>
        </a:p>
      </dgm:t>
    </dgm:pt>
    <dgm:pt modelId="{C19E10EE-629F-43D4-A71B-8531D12AE561}" type="pres">
      <dgm:prSet presAssocID="{05A548B1-80FA-40BF-BEDE-4060D5C1BF60}" presName="rootText" presStyleLbl="node2" presStyleIdx="3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B1B45A43-253C-4ED4-9922-4580EEE1CE83}" type="pres">
      <dgm:prSet presAssocID="{05A548B1-80FA-40BF-BEDE-4060D5C1BF60}" presName="rootConnector" presStyleLbl="node2" presStyleIdx="3" presStyleCnt="6"/>
      <dgm:spPr/>
      <dgm:t>
        <a:bodyPr/>
        <a:lstStyle/>
        <a:p>
          <a:endParaRPr lang="de-DE"/>
        </a:p>
      </dgm:t>
    </dgm:pt>
    <dgm:pt modelId="{4C5E5AC1-4386-43D9-B90E-E6211F9D07AC}" type="pres">
      <dgm:prSet presAssocID="{05A548B1-80FA-40BF-BEDE-4060D5C1BF60}" presName="hierChild4" presStyleCnt="0"/>
      <dgm:spPr/>
      <dgm:t>
        <a:bodyPr/>
        <a:lstStyle/>
        <a:p>
          <a:endParaRPr lang="de-DE"/>
        </a:p>
      </dgm:t>
    </dgm:pt>
    <dgm:pt modelId="{DB6CC7B3-44FD-41F4-8220-2AEC5C891D12}" type="pres">
      <dgm:prSet presAssocID="{81E6D77D-0805-4FC5-943C-D07FA7C9D673}" presName="Name37" presStyleLbl="parChTrans1D3" presStyleIdx="3" presStyleCnt="6"/>
      <dgm:spPr/>
      <dgm:t>
        <a:bodyPr/>
        <a:lstStyle/>
        <a:p>
          <a:endParaRPr lang="de-DE"/>
        </a:p>
      </dgm:t>
    </dgm:pt>
    <dgm:pt modelId="{D7EAEEA7-DC7D-494A-AB15-F8D263775224}" type="pres">
      <dgm:prSet presAssocID="{5C47D26A-0343-43C2-9A55-C28F6DA276A3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933C7293-B056-4428-88D3-00E3D14E36A8}" type="pres">
      <dgm:prSet presAssocID="{5C47D26A-0343-43C2-9A55-C28F6DA276A3}" presName="rootComposite" presStyleCnt="0"/>
      <dgm:spPr/>
      <dgm:t>
        <a:bodyPr/>
        <a:lstStyle/>
        <a:p>
          <a:endParaRPr lang="de-DE"/>
        </a:p>
      </dgm:t>
    </dgm:pt>
    <dgm:pt modelId="{FF596911-2B0E-4D37-8A4E-09A74BA7E6A9}" type="pres">
      <dgm:prSet presAssocID="{5C47D26A-0343-43C2-9A55-C28F6DA276A3}" presName="rootText" presStyleLbl="node3" presStyleIdx="3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A16DBD7C-7C41-4A1F-BBBB-00462CE6E77A}" type="pres">
      <dgm:prSet presAssocID="{5C47D26A-0343-43C2-9A55-C28F6DA276A3}" presName="rootConnector" presStyleLbl="node3" presStyleIdx="3" presStyleCnt="6"/>
      <dgm:spPr/>
      <dgm:t>
        <a:bodyPr/>
        <a:lstStyle/>
        <a:p>
          <a:endParaRPr lang="de-DE"/>
        </a:p>
      </dgm:t>
    </dgm:pt>
    <dgm:pt modelId="{6BCEDB41-F85D-44BD-A09F-ECAD7C3FE1AD}" type="pres">
      <dgm:prSet presAssocID="{5C47D26A-0343-43C2-9A55-C28F6DA276A3}" presName="hierChild4" presStyleCnt="0"/>
      <dgm:spPr/>
      <dgm:t>
        <a:bodyPr/>
        <a:lstStyle/>
        <a:p>
          <a:endParaRPr lang="de-DE"/>
        </a:p>
      </dgm:t>
    </dgm:pt>
    <dgm:pt modelId="{3CF37FC5-B5F7-4FF6-9A2B-BE2E6C2F34C0}" type="pres">
      <dgm:prSet presAssocID="{5C47D26A-0343-43C2-9A55-C28F6DA276A3}" presName="hierChild5" presStyleCnt="0"/>
      <dgm:spPr/>
      <dgm:t>
        <a:bodyPr/>
        <a:lstStyle/>
        <a:p>
          <a:endParaRPr lang="de-DE"/>
        </a:p>
      </dgm:t>
    </dgm:pt>
    <dgm:pt modelId="{15B84913-4010-4DD9-82D8-A39DAB9FB2AD}" type="pres">
      <dgm:prSet presAssocID="{05A548B1-80FA-40BF-BEDE-4060D5C1BF60}" presName="hierChild5" presStyleCnt="0"/>
      <dgm:spPr/>
      <dgm:t>
        <a:bodyPr/>
        <a:lstStyle/>
        <a:p>
          <a:endParaRPr lang="de-DE"/>
        </a:p>
      </dgm:t>
    </dgm:pt>
    <dgm:pt modelId="{0035E46B-185D-4D56-9DFF-28419C059BB8}" type="pres">
      <dgm:prSet presAssocID="{97CAC142-BB2B-4F4A-AE6C-932A2B3337FA}" presName="Name37" presStyleLbl="parChTrans1D2" presStyleIdx="4" presStyleCnt="6"/>
      <dgm:spPr/>
      <dgm:t>
        <a:bodyPr/>
        <a:lstStyle/>
        <a:p>
          <a:endParaRPr lang="de-DE"/>
        </a:p>
      </dgm:t>
    </dgm:pt>
    <dgm:pt modelId="{EEDED58B-E4CB-4235-AC44-F1D179149627}" type="pres">
      <dgm:prSet presAssocID="{F8F62D1D-6565-4E47-A767-CEB4D952A0E3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8F1ACCD4-3F10-42CF-87EF-2BAD2E9843F8}" type="pres">
      <dgm:prSet presAssocID="{F8F62D1D-6565-4E47-A767-CEB4D952A0E3}" presName="rootComposite" presStyleCnt="0"/>
      <dgm:spPr/>
      <dgm:t>
        <a:bodyPr/>
        <a:lstStyle/>
        <a:p>
          <a:endParaRPr lang="de-DE"/>
        </a:p>
      </dgm:t>
    </dgm:pt>
    <dgm:pt modelId="{E29387E5-5F50-4B37-BBE3-E72E5D632861}" type="pres">
      <dgm:prSet presAssocID="{F8F62D1D-6565-4E47-A767-CEB4D952A0E3}" presName="rootText" presStyleLbl="node2" presStyleIdx="4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DD8B4F9B-EF48-48B6-8575-5A7C461608BC}" type="pres">
      <dgm:prSet presAssocID="{F8F62D1D-6565-4E47-A767-CEB4D952A0E3}" presName="rootConnector" presStyleLbl="node2" presStyleIdx="4" presStyleCnt="6"/>
      <dgm:spPr/>
      <dgm:t>
        <a:bodyPr/>
        <a:lstStyle/>
        <a:p>
          <a:endParaRPr lang="de-DE"/>
        </a:p>
      </dgm:t>
    </dgm:pt>
    <dgm:pt modelId="{F2CDD5D4-AD4E-407A-B428-3937AF4E0D77}" type="pres">
      <dgm:prSet presAssocID="{F8F62D1D-6565-4E47-A767-CEB4D952A0E3}" presName="hierChild4" presStyleCnt="0"/>
      <dgm:spPr/>
      <dgm:t>
        <a:bodyPr/>
        <a:lstStyle/>
        <a:p>
          <a:endParaRPr lang="de-DE"/>
        </a:p>
      </dgm:t>
    </dgm:pt>
    <dgm:pt modelId="{D6DFC1B5-DF2C-47A3-BFEC-86333586734B}" type="pres">
      <dgm:prSet presAssocID="{4F110685-2E6F-40AC-9E36-61679D0FA509}" presName="Name37" presStyleLbl="parChTrans1D3" presStyleIdx="4" presStyleCnt="6"/>
      <dgm:spPr/>
      <dgm:t>
        <a:bodyPr/>
        <a:lstStyle/>
        <a:p>
          <a:endParaRPr lang="de-DE"/>
        </a:p>
      </dgm:t>
    </dgm:pt>
    <dgm:pt modelId="{A59F06F6-C0EA-46E1-8742-B2C2DB90E37C}" type="pres">
      <dgm:prSet presAssocID="{F7027F70-D586-4157-8F62-8F0DC1139918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A63C1F5F-C79B-498D-BC10-0E4DA2FED8CA}" type="pres">
      <dgm:prSet presAssocID="{F7027F70-D586-4157-8F62-8F0DC1139918}" presName="rootComposite" presStyleCnt="0"/>
      <dgm:spPr/>
      <dgm:t>
        <a:bodyPr/>
        <a:lstStyle/>
        <a:p>
          <a:endParaRPr lang="de-DE"/>
        </a:p>
      </dgm:t>
    </dgm:pt>
    <dgm:pt modelId="{A16E3C9C-A56C-4A00-BADE-79CF08E1B1D4}" type="pres">
      <dgm:prSet presAssocID="{F7027F70-D586-4157-8F62-8F0DC1139918}" presName="rootText" presStyleLbl="node3" presStyleIdx="4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58F7CC02-1D27-465D-B2B7-6147CA5ECB56}" type="pres">
      <dgm:prSet presAssocID="{F7027F70-D586-4157-8F62-8F0DC1139918}" presName="rootConnector" presStyleLbl="node3" presStyleIdx="4" presStyleCnt="6"/>
      <dgm:spPr/>
      <dgm:t>
        <a:bodyPr/>
        <a:lstStyle/>
        <a:p>
          <a:endParaRPr lang="de-DE"/>
        </a:p>
      </dgm:t>
    </dgm:pt>
    <dgm:pt modelId="{35A87538-F388-4048-95F6-B72CFB5BD775}" type="pres">
      <dgm:prSet presAssocID="{F7027F70-D586-4157-8F62-8F0DC1139918}" presName="hierChild4" presStyleCnt="0"/>
      <dgm:spPr/>
      <dgm:t>
        <a:bodyPr/>
        <a:lstStyle/>
        <a:p>
          <a:endParaRPr lang="de-DE"/>
        </a:p>
      </dgm:t>
    </dgm:pt>
    <dgm:pt modelId="{D39D1EEE-B0CD-412C-8ED3-5E91AA50A0C6}" type="pres">
      <dgm:prSet presAssocID="{F7027F70-D586-4157-8F62-8F0DC1139918}" presName="hierChild5" presStyleCnt="0"/>
      <dgm:spPr/>
      <dgm:t>
        <a:bodyPr/>
        <a:lstStyle/>
        <a:p>
          <a:endParaRPr lang="de-DE"/>
        </a:p>
      </dgm:t>
    </dgm:pt>
    <dgm:pt modelId="{61520106-026F-497F-91E2-5F5D5BD8DE20}" type="pres">
      <dgm:prSet presAssocID="{F8F62D1D-6565-4E47-A767-CEB4D952A0E3}" presName="hierChild5" presStyleCnt="0"/>
      <dgm:spPr/>
      <dgm:t>
        <a:bodyPr/>
        <a:lstStyle/>
        <a:p>
          <a:endParaRPr lang="de-DE"/>
        </a:p>
      </dgm:t>
    </dgm:pt>
    <dgm:pt modelId="{1BEF2864-A950-421C-ABB1-1CEF04DB8693}" type="pres">
      <dgm:prSet presAssocID="{C64EFC2C-0CA5-4A76-9DBB-81066CF11A8C}" presName="Name37" presStyleLbl="parChTrans1D2" presStyleIdx="5" presStyleCnt="6"/>
      <dgm:spPr/>
      <dgm:t>
        <a:bodyPr/>
        <a:lstStyle/>
        <a:p>
          <a:endParaRPr lang="de-DE"/>
        </a:p>
      </dgm:t>
    </dgm:pt>
    <dgm:pt modelId="{EC9B7D81-2FA3-4C5C-840E-AA28593E6027}" type="pres">
      <dgm:prSet presAssocID="{95A636E5-54B3-48BA-A704-0D2C81719527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68CE8939-7EBB-4E85-8411-8F07E6332EB6}" type="pres">
      <dgm:prSet presAssocID="{95A636E5-54B3-48BA-A704-0D2C81719527}" presName="rootComposite" presStyleCnt="0"/>
      <dgm:spPr/>
      <dgm:t>
        <a:bodyPr/>
        <a:lstStyle/>
        <a:p>
          <a:endParaRPr lang="de-DE"/>
        </a:p>
      </dgm:t>
    </dgm:pt>
    <dgm:pt modelId="{35594485-59BF-41C2-A450-63098D473C9B}" type="pres">
      <dgm:prSet presAssocID="{95A636E5-54B3-48BA-A704-0D2C81719527}" presName="rootText" presStyleLbl="node2" presStyleIdx="5" presStyleCnt="6" custScaleY="12374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AAC45968-687C-4B41-B1B7-1DD902123E5A}" type="pres">
      <dgm:prSet presAssocID="{95A636E5-54B3-48BA-A704-0D2C81719527}" presName="rootConnector" presStyleLbl="node2" presStyleIdx="5" presStyleCnt="6"/>
      <dgm:spPr/>
      <dgm:t>
        <a:bodyPr/>
        <a:lstStyle/>
        <a:p>
          <a:endParaRPr lang="de-DE"/>
        </a:p>
      </dgm:t>
    </dgm:pt>
    <dgm:pt modelId="{B4C12336-BE20-4750-8E45-C88537C42BE4}" type="pres">
      <dgm:prSet presAssocID="{95A636E5-54B3-48BA-A704-0D2C81719527}" presName="hierChild4" presStyleCnt="0"/>
      <dgm:spPr/>
      <dgm:t>
        <a:bodyPr/>
        <a:lstStyle/>
        <a:p>
          <a:endParaRPr lang="de-DE"/>
        </a:p>
      </dgm:t>
    </dgm:pt>
    <dgm:pt modelId="{C458C675-3BFD-4796-AFF9-FF7923448D49}" type="pres">
      <dgm:prSet presAssocID="{338CCEBA-E23E-4173-BADA-DFB8AD9DDA51}" presName="Name37" presStyleLbl="parChTrans1D3" presStyleIdx="5" presStyleCnt="6"/>
      <dgm:spPr/>
      <dgm:t>
        <a:bodyPr/>
        <a:lstStyle/>
        <a:p>
          <a:endParaRPr lang="de-DE"/>
        </a:p>
      </dgm:t>
    </dgm:pt>
    <dgm:pt modelId="{15711435-9324-45B3-9AFB-C70531DA282A}" type="pres">
      <dgm:prSet presAssocID="{B2083AA6-3666-4057-BEBE-35FB8FB99D3A}" presName="hierRoot2" presStyleCnt="0">
        <dgm:presLayoutVars>
          <dgm:hierBranch val="init"/>
        </dgm:presLayoutVars>
      </dgm:prSet>
      <dgm:spPr/>
      <dgm:t>
        <a:bodyPr/>
        <a:lstStyle/>
        <a:p>
          <a:endParaRPr lang="de-DE"/>
        </a:p>
      </dgm:t>
    </dgm:pt>
    <dgm:pt modelId="{80644854-437E-4238-B360-9FBAA3B4D08B}" type="pres">
      <dgm:prSet presAssocID="{B2083AA6-3666-4057-BEBE-35FB8FB99D3A}" presName="rootComposite" presStyleCnt="0"/>
      <dgm:spPr/>
      <dgm:t>
        <a:bodyPr/>
        <a:lstStyle/>
        <a:p>
          <a:endParaRPr lang="de-DE"/>
        </a:p>
      </dgm:t>
    </dgm:pt>
    <dgm:pt modelId="{FD0D8C59-8D86-4246-B22A-11FAD2326327}" type="pres">
      <dgm:prSet presAssocID="{B2083AA6-3666-4057-BEBE-35FB8FB99D3A}" presName="rootText" presStyleLbl="node3" presStyleIdx="5" presStyleCnt="6" custScaleY="677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4C3E290A-8FD6-4834-B81B-CEDBCAA162A6}" type="pres">
      <dgm:prSet presAssocID="{B2083AA6-3666-4057-BEBE-35FB8FB99D3A}" presName="rootConnector" presStyleLbl="node3" presStyleIdx="5" presStyleCnt="6"/>
      <dgm:spPr/>
      <dgm:t>
        <a:bodyPr/>
        <a:lstStyle/>
        <a:p>
          <a:endParaRPr lang="de-DE"/>
        </a:p>
      </dgm:t>
    </dgm:pt>
    <dgm:pt modelId="{82A13B43-F580-45C2-8C0C-2C5F129F417B}" type="pres">
      <dgm:prSet presAssocID="{B2083AA6-3666-4057-BEBE-35FB8FB99D3A}" presName="hierChild4" presStyleCnt="0"/>
      <dgm:spPr/>
      <dgm:t>
        <a:bodyPr/>
        <a:lstStyle/>
        <a:p>
          <a:endParaRPr lang="de-DE"/>
        </a:p>
      </dgm:t>
    </dgm:pt>
    <dgm:pt modelId="{F79D84E7-25BD-4A62-9385-6A24F06384BF}" type="pres">
      <dgm:prSet presAssocID="{B2083AA6-3666-4057-BEBE-35FB8FB99D3A}" presName="hierChild5" presStyleCnt="0"/>
      <dgm:spPr/>
      <dgm:t>
        <a:bodyPr/>
        <a:lstStyle/>
        <a:p>
          <a:endParaRPr lang="de-DE"/>
        </a:p>
      </dgm:t>
    </dgm:pt>
    <dgm:pt modelId="{19286698-61B3-42F0-AF1D-8620EF03C0E0}" type="pres">
      <dgm:prSet presAssocID="{95A636E5-54B3-48BA-A704-0D2C81719527}" presName="hierChild5" presStyleCnt="0"/>
      <dgm:spPr/>
      <dgm:t>
        <a:bodyPr/>
        <a:lstStyle/>
        <a:p>
          <a:endParaRPr lang="de-DE"/>
        </a:p>
      </dgm:t>
    </dgm:pt>
    <dgm:pt modelId="{3DC7905B-FA61-4226-B582-8CA59C8F592E}" type="pres">
      <dgm:prSet presAssocID="{DFB52242-C45C-4F8B-BC21-A9617C559EC3}" presName="hierChild3" presStyleCnt="0"/>
      <dgm:spPr/>
      <dgm:t>
        <a:bodyPr/>
        <a:lstStyle/>
        <a:p>
          <a:endParaRPr lang="de-DE"/>
        </a:p>
      </dgm:t>
    </dgm:pt>
  </dgm:ptLst>
  <dgm:cxnLst>
    <dgm:cxn modelId="{29E13F21-F62D-4C7C-9892-553CF28176C9}" type="presOf" srcId="{DFB52242-C45C-4F8B-BC21-A9617C559EC3}" destId="{07171A82-F0A9-43B4-8A8D-86F648FE3FC5}" srcOrd="0" destOrd="0" presId="urn:microsoft.com/office/officeart/2005/8/layout/orgChart1"/>
    <dgm:cxn modelId="{9319F167-FCD2-4388-8869-D860B72D38EC}" srcId="{DFB52242-C45C-4F8B-BC21-A9617C559EC3}" destId="{95A636E5-54B3-48BA-A704-0D2C81719527}" srcOrd="5" destOrd="0" parTransId="{C64EFC2C-0CA5-4A76-9DBB-81066CF11A8C}" sibTransId="{5B3FECA4-6ECE-477B-99FA-AF144DEA5166}"/>
    <dgm:cxn modelId="{D2E91239-EBB4-43F2-840B-95F2A0E109F0}" type="presOf" srcId="{434F8C5E-7AC2-43EE-B9EB-0D473395C1B2}" destId="{29B8F07C-C1B0-4C61-85FE-2BA0FC48FD0C}" srcOrd="0" destOrd="0" presId="urn:microsoft.com/office/officeart/2005/8/layout/orgChart1"/>
    <dgm:cxn modelId="{6BEFAB18-C6BB-4D22-A103-41EDF0363F6E}" type="presOf" srcId="{12611D15-F917-47C7-8B37-BBA3E615FBB1}" destId="{E61D2D5B-9EEA-4483-A3FF-F69627B98927}" srcOrd="0" destOrd="0" presId="urn:microsoft.com/office/officeart/2005/8/layout/orgChart1"/>
    <dgm:cxn modelId="{9FC0EE85-09ED-4AB9-8ECA-4F78370FA0F4}" type="presOf" srcId="{BF342A1C-6149-4314-9CDB-CDEEEB049314}" destId="{359F45F2-37E0-493F-994A-06A78DF1913C}" srcOrd="0" destOrd="0" presId="urn:microsoft.com/office/officeart/2005/8/layout/orgChart1"/>
    <dgm:cxn modelId="{172CDCE4-DBA9-4A3B-87A7-C2FE781BD3A9}" type="presOf" srcId="{A4210927-DBFA-4946-AA51-7213DDBF72CE}" destId="{22A00BD8-360D-461C-816C-5821F5821BE9}" srcOrd="0" destOrd="0" presId="urn:microsoft.com/office/officeart/2005/8/layout/orgChart1"/>
    <dgm:cxn modelId="{F248A320-90E2-4D87-B4ED-8E8BBAE56AB3}" srcId="{05A548B1-80FA-40BF-BEDE-4060D5C1BF60}" destId="{5C47D26A-0343-43C2-9A55-C28F6DA276A3}" srcOrd="0" destOrd="0" parTransId="{81E6D77D-0805-4FC5-943C-D07FA7C9D673}" sibTransId="{FD4952D9-90A9-4318-BD48-99160EFC9733}"/>
    <dgm:cxn modelId="{F1F3B747-8A88-415A-A24B-1D30948772A6}" srcId="{434F8C5E-7AC2-43EE-B9EB-0D473395C1B2}" destId="{DFB52242-C45C-4F8B-BC21-A9617C559EC3}" srcOrd="0" destOrd="0" parTransId="{67D21C2F-EE6F-4332-A802-3E6C1313BFF0}" sibTransId="{79BC229C-D6CA-4C9E-857E-22C1F8E84C25}"/>
    <dgm:cxn modelId="{6FE8679E-790C-4B71-BB9C-4ACB3343464A}" type="presOf" srcId="{B2083AA6-3666-4057-BEBE-35FB8FB99D3A}" destId="{4C3E290A-8FD6-4834-B81B-CEDBCAA162A6}" srcOrd="1" destOrd="0" presId="urn:microsoft.com/office/officeart/2005/8/layout/orgChart1"/>
    <dgm:cxn modelId="{A9286078-9905-4CF0-89D8-0EA9E9BB0353}" type="presOf" srcId="{6BC40865-0725-44DD-A2E4-79F7DBF8AE2B}" destId="{59EA2D96-1E1B-4CA6-B497-EF78CFA23C7A}" srcOrd="0" destOrd="0" presId="urn:microsoft.com/office/officeart/2005/8/layout/orgChart1"/>
    <dgm:cxn modelId="{C39AAAFF-BF3B-4239-BCA5-616488FF897F}" type="presOf" srcId="{F7027F70-D586-4157-8F62-8F0DC1139918}" destId="{A16E3C9C-A56C-4A00-BADE-79CF08E1B1D4}" srcOrd="0" destOrd="0" presId="urn:microsoft.com/office/officeart/2005/8/layout/orgChart1"/>
    <dgm:cxn modelId="{F26AFB62-00DC-491E-B863-CB4D13B596F5}" srcId="{95A636E5-54B3-48BA-A704-0D2C81719527}" destId="{B2083AA6-3666-4057-BEBE-35FB8FB99D3A}" srcOrd="0" destOrd="0" parTransId="{338CCEBA-E23E-4173-BADA-DFB8AD9DDA51}" sibTransId="{42DA0234-FF9E-4238-9568-B1943C1EC401}"/>
    <dgm:cxn modelId="{AA422B92-C3B5-4A38-9DD2-820C93D8A195}" type="presOf" srcId="{DFB52242-C45C-4F8B-BC21-A9617C559EC3}" destId="{C18C9D2D-2884-4929-B413-428F0EB3E4D7}" srcOrd="1" destOrd="0" presId="urn:microsoft.com/office/officeart/2005/8/layout/orgChart1"/>
    <dgm:cxn modelId="{B8B0B6D2-75B9-4643-BB82-545B25C2D3F5}" srcId="{DFB52242-C45C-4F8B-BC21-A9617C559EC3}" destId="{0AC6C2A4-6BED-48FC-8894-ED24E24D33E1}" srcOrd="2" destOrd="0" parTransId="{E88B7E5F-710F-416F-90D5-6B28E2DE0DA6}" sibTransId="{4B74E639-2B57-48A0-B40C-63FBBE05A4B1}"/>
    <dgm:cxn modelId="{047FBFAC-56BA-44DA-BE9E-FDDC4CDC1FAD}" type="presOf" srcId="{8A0568B5-46CD-4CDF-B0BB-CE7E9C113AD7}" destId="{37BA9D32-C4D4-4B2E-AD6C-82A3E45F3650}" srcOrd="1" destOrd="0" presId="urn:microsoft.com/office/officeart/2005/8/layout/orgChart1"/>
    <dgm:cxn modelId="{46009C3D-5E59-44D7-B571-3EE26F064067}" type="presOf" srcId="{5C47D26A-0343-43C2-9A55-C28F6DA276A3}" destId="{FF596911-2B0E-4D37-8A4E-09A74BA7E6A9}" srcOrd="0" destOrd="0" presId="urn:microsoft.com/office/officeart/2005/8/layout/orgChart1"/>
    <dgm:cxn modelId="{D38CBFAA-B233-447B-9937-EC1ED628D349}" srcId="{DFB52242-C45C-4F8B-BC21-A9617C559EC3}" destId="{33E66B64-6E74-44DE-876E-1FA911254E01}" srcOrd="0" destOrd="0" parTransId="{0DBC8291-3A5C-47D9-A81F-F6EEFDC5E312}" sibTransId="{1BF0774C-027E-4517-AA93-28E5267BC84C}"/>
    <dgm:cxn modelId="{48458C80-7160-49F3-A18E-14533DD4F7F0}" type="presOf" srcId="{33E66B64-6E74-44DE-876E-1FA911254E01}" destId="{7217DE03-7A2E-4DF8-86CB-D5F9E44A64ED}" srcOrd="0" destOrd="0" presId="urn:microsoft.com/office/officeart/2005/8/layout/orgChart1"/>
    <dgm:cxn modelId="{34C586B3-ABF0-41BA-894A-18A97D96A5B9}" type="presOf" srcId="{F8F62D1D-6565-4E47-A767-CEB4D952A0E3}" destId="{E29387E5-5F50-4B37-BBE3-E72E5D632861}" srcOrd="0" destOrd="0" presId="urn:microsoft.com/office/officeart/2005/8/layout/orgChart1"/>
    <dgm:cxn modelId="{A0D0D87F-AB78-4B4B-95B8-7A2BD209D7D6}" srcId="{DFB52242-C45C-4F8B-BC21-A9617C559EC3}" destId="{7EE2D50C-EFBC-449F-96DF-CC9AF1BAE878}" srcOrd="1" destOrd="0" parTransId="{12611D15-F917-47C7-8B37-BBA3E615FBB1}" sibTransId="{ED315AD2-FA35-4689-90E1-EEBB0CAC1FFA}"/>
    <dgm:cxn modelId="{58AE5392-26A0-43A2-BC51-C2C4FB61F9DB}" type="presOf" srcId="{05A548B1-80FA-40BF-BEDE-4060D5C1BF60}" destId="{B1B45A43-253C-4ED4-9922-4580EEE1CE83}" srcOrd="1" destOrd="0" presId="urn:microsoft.com/office/officeart/2005/8/layout/orgChart1"/>
    <dgm:cxn modelId="{2D9D3C9C-BA33-4B05-AF3F-B38F8975DF6B}" srcId="{0AC6C2A4-6BED-48FC-8894-ED24E24D33E1}" destId="{8A0568B5-46CD-4CDF-B0BB-CE7E9C113AD7}" srcOrd="0" destOrd="0" parTransId="{BF342A1C-6149-4314-9CDB-CDEEEB049314}" sibTransId="{58283866-1B85-4CF7-80A0-776CB535B85E}"/>
    <dgm:cxn modelId="{981969FF-0D49-48DF-AA7B-F7ABBF62CF61}" type="presOf" srcId="{C33F1A44-8DAA-4D90-8C0C-8119608E357B}" destId="{74082AE1-1E68-4E56-8EB6-1FD67BD7CD20}" srcOrd="0" destOrd="0" presId="urn:microsoft.com/office/officeart/2005/8/layout/orgChart1"/>
    <dgm:cxn modelId="{95962423-DBCC-41CD-A80A-33AFFD814720}" type="presOf" srcId="{F7027F70-D586-4157-8F62-8F0DC1139918}" destId="{58F7CC02-1D27-465D-B2B7-6147CA5ECB56}" srcOrd="1" destOrd="0" presId="urn:microsoft.com/office/officeart/2005/8/layout/orgChart1"/>
    <dgm:cxn modelId="{806B84C0-1754-4898-9CBB-FED51BAB3AB3}" type="presOf" srcId="{C33F1A44-8DAA-4D90-8C0C-8119608E357B}" destId="{0FE8B630-7787-48DD-AB40-245FF603F432}" srcOrd="1" destOrd="0" presId="urn:microsoft.com/office/officeart/2005/8/layout/orgChart1"/>
    <dgm:cxn modelId="{D063B470-E8BC-4D17-A15F-5FA7229C72CC}" type="presOf" srcId="{B2083AA6-3666-4057-BEBE-35FB8FB99D3A}" destId="{FD0D8C59-8D86-4246-B22A-11FAD2326327}" srcOrd="0" destOrd="0" presId="urn:microsoft.com/office/officeart/2005/8/layout/orgChart1"/>
    <dgm:cxn modelId="{2500A94F-DB45-4F8D-BD2F-5AA482F7EFB4}" type="presOf" srcId="{3B5C7E1A-5C60-40D4-BF51-D9770E4872A4}" destId="{E46F1C8E-C60E-4B29-B946-2F57B4306E73}" srcOrd="0" destOrd="0" presId="urn:microsoft.com/office/officeart/2005/8/layout/orgChart1"/>
    <dgm:cxn modelId="{905E70A7-DDEA-4092-9C08-00920304F09A}" type="presOf" srcId="{338CCEBA-E23E-4173-BADA-DFB8AD9DDA51}" destId="{C458C675-3BFD-4796-AFF9-FF7923448D49}" srcOrd="0" destOrd="0" presId="urn:microsoft.com/office/officeart/2005/8/layout/orgChart1"/>
    <dgm:cxn modelId="{1D0CCE76-EACE-4C4F-BD2A-C2E7C9222A3B}" srcId="{DFB52242-C45C-4F8B-BC21-A9617C559EC3}" destId="{F8F62D1D-6565-4E47-A767-CEB4D952A0E3}" srcOrd="4" destOrd="0" parTransId="{97CAC142-BB2B-4F4A-AE6C-932A2B3337FA}" sibTransId="{949C7645-28C8-492D-BA6D-F183A42A091A}"/>
    <dgm:cxn modelId="{EFC52D26-03E6-45F4-9CD2-4027E8F00BB0}" srcId="{7EE2D50C-EFBC-449F-96DF-CC9AF1BAE878}" destId="{3B5C7E1A-5C60-40D4-BF51-D9770E4872A4}" srcOrd="0" destOrd="0" parTransId="{A4210927-DBFA-4946-AA51-7213DDBF72CE}" sibTransId="{D9782C66-A0DA-464F-8280-78A310707C01}"/>
    <dgm:cxn modelId="{540FF486-51D8-4959-A460-EF36098864D1}" type="presOf" srcId="{81E6D77D-0805-4FC5-943C-D07FA7C9D673}" destId="{DB6CC7B3-44FD-41F4-8220-2AEC5C891D12}" srcOrd="0" destOrd="0" presId="urn:microsoft.com/office/officeart/2005/8/layout/orgChart1"/>
    <dgm:cxn modelId="{40BC842E-E4AE-4903-80B6-AFBF8D724161}" srcId="{33E66B64-6E74-44DE-876E-1FA911254E01}" destId="{C33F1A44-8DAA-4D90-8C0C-8119608E357B}" srcOrd="0" destOrd="0" parTransId="{6BC40865-0725-44DD-A2E4-79F7DBF8AE2B}" sibTransId="{C767D3FB-F6D9-4760-ABA0-6BB3916B4BA5}"/>
    <dgm:cxn modelId="{06D7479F-20FE-4E4E-A63E-69F04DB8CBFB}" type="presOf" srcId="{0AC6C2A4-6BED-48FC-8894-ED24E24D33E1}" destId="{8F671873-CB6A-4DC1-8C50-CE43B58A2C9A}" srcOrd="0" destOrd="0" presId="urn:microsoft.com/office/officeart/2005/8/layout/orgChart1"/>
    <dgm:cxn modelId="{11201041-8BEE-464C-879D-988B80FFB3BA}" type="presOf" srcId="{05A548B1-80FA-40BF-BEDE-4060D5C1BF60}" destId="{C19E10EE-629F-43D4-A71B-8531D12AE561}" srcOrd="0" destOrd="0" presId="urn:microsoft.com/office/officeart/2005/8/layout/orgChart1"/>
    <dgm:cxn modelId="{099D0682-4856-44E8-BA74-895D98A236A2}" srcId="{DFB52242-C45C-4F8B-BC21-A9617C559EC3}" destId="{05A548B1-80FA-40BF-BEDE-4060D5C1BF60}" srcOrd="3" destOrd="0" parTransId="{D83A70C6-450B-4F71-8BDB-A7200F66657F}" sibTransId="{5599F70C-FFC8-4B2A-B1E3-3756692D0CD3}"/>
    <dgm:cxn modelId="{9F79F4BC-E966-4DD7-8651-747B65644B02}" srcId="{F8F62D1D-6565-4E47-A767-CEB4D952A0E3}" destId="{F7027F70-D586-4157-8F62-8F0DC1139918}" srcOrd="0" destOrd="0" parTransId="{4F110685-2E6F-40AC-9E36-61679D0FA509}" sibTransId="{34B2FA83-DDCC-4DB0-8204-B3144430C392}"/>
    <dgm:cxn modelId="{32202ADF-15E6-4EF3-A07D-DA5FFAC10E7A}" type="presOf" srcId="{4F110685-2E6F-40AC-9E36-61679D0FA509}" destId="{D6DFC1B5-DF2C-47A3-BFEC-86333586734B}" srcOrd="0" destOrd="0" presId="urn:microsoft.com/office/officeart/2005/8/layout/orgChart1"/>
    <dgm:cxn modelId="{B9CE9C17-2A6C-4612-B638-A88E6AABEC3D}" type="presOf" srcId="{97CAC142-BB2B-4F4A-AE6C-932A2B3337FA}" destId="{0035E46B-185D-4D56-9DFF-28419C059BB8}" srcOrd="0" destOrd="0" presId="urn:microsoft.com/office/officeart/2005/8/layout/orgChart1"/>
    <dgm:cxn modelId="{7356BBF2-2B92-45DA-B33B-E02A2E27E1E0}" type="presOf" srcId="{D83A70C6-450B-4F71-8BDB-A7200F66657F}" destId="{2E7556F9-9BD7-4AA5-8DAA-1DC71E47EFE0}" srcOrd="0" destOrd="0" presId="urn:microsoft.com/office/officeart/2005/8/layout/orgChart1"/>
    <dgm:cxn modelId="{4215150A-B8FD-4529-AB2D-34974877B29B}" type="presOf" srcId="{3B5C7E1A-5C60-40D4-BF51-D9770E4872A4}" destId="{83CF7BD6-FCE5-4748-8B3D-31200D8E9072}" srcOrd="1" destOrd="0" presId="urn:microsoft.com/office/officeart/2005/8/layout/orgChart1"/>
    <dgm:cxn modelId="{EA2446AE-B5D4-42FC-BD21-0E44F4797163}" type="presOf" srcId="{F8F62D1D-6565-4E47-A767-CEB4D952A0E3}" destId="{DD8B4F9B-EF48-48B6-8575-5A7C461608BC}" srcOrd="1" destOrd="0" presId="urn:microsoft.com/office/officeart/2005/8/layout/orgChart1"/>
    <dgm:cxn modelId="{72421ABE-660E-4972-A33E-16329993103B}" type="presOf" srcId="{33E66B64-6E74-44DE-876E-1FA911254E01}" destId="{A1E6F5F9-89CF-4E3B-90F2-7CC2BBBAC18B}" srcOrd="1" destOrd="0" presId="urn:microsoft.com/office/officeart/2005/8/layout/orgChart1"/>
    <dgm:cxn modelId="{611EDB22-E068-4807-A2A7-AA65F581998B}" type="presOf" srcId="{E88B7E5F-710F-416F-90D5-6B28E2DE0DA6}" destId="{68020281-A113-4B79-8F96-6FB3BB32CE20}" srcOrd="0" destOrd="0" presId="urn:microsoft.com/office/officeart/2005/8/layout/orgChart1"/>
    <dgm:cxn modelId="{31D4E55E-84DF-4845-968E-C7B4C5957A53}" type="presOf" srcId="{95A636E5-54B3-48BA-A704-0D2C81719527}" destId="{AAC45968-687C-4B41-B1B7-1DD902123E5A}" srcOrd="1" destOrd="0" presId="urn:microsoft.com/office/officeart/2005/8/layout/orgChart1"/>
    <dgm:cxn modelId="{C23E100C-0C43-4BCB-B347-1CD787B26C3D}" type="presOf" srcId="{95A636E5-54B3-48BA-A704-0D2C81719527}" destId="{35594485-59BF-41C2-A450-63098D473C9B}" srcOrd="0" destOrd="0" presId="urn:microsoft.com/office/officeart/2005/8/layout/orgChart1"/>
    <dgm:cxn modelId="{43247613-C685-4663-AEA8-E796E3FE17BD}" type="presOf" srcId="{7EE2D50C-EFBC-449F-96DF-CC9AF1BAE878}" destId="{291E1891-BE38-46D3-ACD5-CDCA5615E63E}" srcOrd="0" destOrd="0" presId="urn:microsoft.com/office/officeart/2005/8/layout/orgChart1"/>
    <dgm:cxn modelId="{F65ADCEE-B5A1-444E-9AD4-90C0BE93F2B6}" type="presOf" srcId="{0AC6C2A4-6BED-48FC-8894-ED24E24D33E1}" destId="{FF282C5E-30E4-4801-B29A-E8D4F93B3C7A}" srcOrd="1" destOrd="0" presId="urn:microsoft.com/office/officeart/2005/8/layout/orgChart1"/>
    <dgm:cxn modelId="{A71E7748-E648-41E2-BB54-3B3CDE269F92}" type="presOf" srcId="{C64EFC2C-0CA5-4A76-9DBB-81066CF11A8C}" destId="{1BEF2864-A950-421C-ABB1-1CEF04DB8693}" srcOrd="0" destOrd="0" presId="urn:microsoft.com/office/officeart/2005/8/layout/orgChart1"/>
    <dgm:cxn modelId="{13E71029-91C6-40D3-840E-80A3CE7755E1}" type="presOf" srcId="{7EE2D50C-EFBC-449F-96DF-CC9AF1BAE878}" destId="{DD5388AE-0329-41E3-8831-3831C22D5E55}" srcOrd="1" destOrd="0" presId="urn:microsoft.com/office/officeart/2005/8/layout/orgChart1"/>
    <dgm:cxn modelId="{622B30FD-7922-4EAA-B30D-9030A167BA8A}" type="presOf" srcId="{0DBC8291-3A5C-47D9-A81F-F6EEFDC5E312}" destId="{C9AAB3D7-5DBA-43CA-81FE-06D8E8B98B93}" srcOrd="0" destOrd="0" presId="urn:microsoft.com/office/officeart/2005/8/layout/orgChart1"/>
    <dgm:cxn modelId="{311DBEC8-E4FB-4598-9F2F-211CB00A6614}" type="presOf" srcId="{8A0568B5-46CD-4CDF-B0BB-CE7E9C113AD7}" destId="{7A0524D7-3DAC-4521-815B-66453C0B6CD6}" srcOrd="0" destOrd="0" presId="urn:microsoft.com/office/officeart/2005/8/layout/orgChart1"/>
    <dgm:cxn modelId="{5D9D0FAD-CFDD-40C9-A72C-C645F61A27DD}" type="presOf" srcId="{5C47D26A-0343-43C2-9A55-C28F6DA276A3}" destId="{A16DBD7C-7C41-4A1F-BBBB-00462CE6E77A}" srcOrd="1" destOrd="0" presId="urn:microsoft.com/office/officeart/2005/8/layout/orgChart1"/>
    <dgm:cxn modelId="{B8544075-A06A-44DB-8A3E-135622BC888B}" type="presParOf" srcId="{29B8F07C-C1B0-4C61-85FE-2BA0FC48FD0C}" destId="{5312C250-F000-4B5F-9828-5F1C910BF5D1}" srcOrd="0" destOrd="0" presId="urn:microsoft.com/office/officeart/2005/8/layout/orgChart1"/>
    <dgm:cxn modelId="{80135472-679E-4F5E-8D05-5D4511382549}" type="presParOf" srcId="{5312C250-F000-4B5F-9828-5F1C910BF5D1}" destId="{822F9EA6-DD2E-45AC-B8E5-7519527B6576}" srcOrd="0" destOrd="0" presId="urn:microsoft.com/office/officeart/2005/8/layout/orgChart1"/>
    <dgm:cxn modelId="{4A922DBB-E718-4CD4-8555-CE41AE20B611}" type="presParOf" srcId="{822F9EA6-DD2E-45AC-B8E5-7519527B6576}" destId="{07171A82-F0A9-43B4-8A8D-86F648FE3FC5}" srcOrd="0" destOrd="0" presId="urn:microsoft.com/office/officeart/2005/8/layout/orgChart1"/>
    <dgm:cxn modelId="{36329C06-E5BE-4CF3-B0FA-21F2A3AC66A5}" type="presParOf" srcId="{822F9EA6-DD2E-45AC-B8E5-7519527B6576}" destId="{C18C9D2D-2884-4929-B413-428F0EB3E4D7}" srcOrd="1" destOrd="0" presId="urn:microsoft.com/office/officeart/2005/8/layout/orgChart1"/>
    <dgm:cxn modelId="{6B5586E7-76AC-4C0E-B726-165333DA69F4}" type="presParOf" srcId="{5312C250-F000-4B5F-9828-5F1C910BF5D1}" destId="{E463EE8D-3329-4158-9A18-45D1A4F20746}" srcOrd="1" destOrd="0" presId="urn:microsoft.com/office/officeart/2005/8/layout/orgChart1"/>
    <dgm:cxn modelId="{597C4B6B-AAB2-449B-9875-11D17EDF5587}" type="presParOf" srcId="{E463EE8D-3329-4158-9A18-45D1A4F20746}" destId="{C9AAB3D7-5DBA-43CA-81FE-06D8E8B98B93}" srcOrd="0" destOrd="0" presId="urn:microsoft.com/office/officeart/2005/8/layout/orgChart1"/>
    <dgm:cxn modelId="{C0F6A6DA-909F-48C5-A8F6-D8F0A241C622}" type="presParOf" srcId="{E463EE8D-3329-4158-9A18-45D1A4F20746}" destId="{495975A5-163E-47F4-9186-67ED8F2D7F52}" srcOrd="1" destOrd="0" presId="urn:microsoft.com/office/officeart/2005/8/layout/orgChart1"/>
    <dgm:cxn modelId="{5B17E443-B144-41C4-8A77-8CC3FE06994E}" type="presParOf" srcId="{495975A5-163E-47F4-9186-67ED8F2D7F52}" destId="{8F90ADAE-9D8A-401B-8B34-26DEDBF6750F}" srcOrd="0" destOrd="0" presId="urn:microsoft.com/office/officeart/2005/8/layout/orgChart1"/>
    <dgm:cxn modelId="{A0427CA6-0190-4360-8523-B249762BFCC0}" type="presParOf" srcId="{8F90ADAE-9D8A-401B-8B34-26DEDBF6750F}" destId="{7217DE03-7A2E-4DF8-86CB-D5F9E44A64ED}" srcOrd="0" destOrd="0" presId="urn:microsoft.com/office/officeart/2005/8/layout/orgChart1"/>
    <dgm:cxn modelId="{95400E77-FA40-4C1C-A3EB-5995B2E4CE30}" type="presParOf" srcId="{8F90ADAE-9D8A-401B-8B34-26DEDBF6750F}" destId="{A1E6F5F9-89CF-4E3B-90F2-7CC2BBBAC18B}" srcOrd="1" destOrd="0" presId="urn:microsoft.com/office/officeart/2005/8/layout/orgChart1"/>
    <dgm:cxn modelId="{F1DE1079-49E6-4F55-BA74-3ED7147D042A}" type="presParOf" srcId="{495975A5-163E-47F4-9186-67ED8F2D7F52}" destId="{232C56B1-7F70-4528-ADA6-EB6B8C60E678}" srcOrd="1" destOrd="0" presId="urn:microsoft.com/office/officeart/2005/8/layout/orgChart1"/>
    <dgm:cxn modelId="{6036EB6D-DDBA-4E58-9B85-85455F4B29F0}" type="presParOf" srcId="{232C56B1-7F70-4528-ADA6-EB6B8C60E678}" destId="{59EA2D96-1E1B-4CA6-B497-EF78CFA23C7A}" srcOrd="0" destOrd="0" presId="urn:microsoft.com/office/officeart/2005/8/layout/orgChart1"/>
    <dgm:cxn modelId="{4A7034D0-05C5-49E0-83AC-26A9F73286A8}" type="presParOf" srcId="{232C56B1-7F70-4528-ADA6-EB6B8C60E678}" destId="{059D06FB-0D47-453D-ABD6-9D3EC1BF72BB}" srcOrd="1" destOrd="0" presId="urn:microsoft.com/office/officeart/2005/8/layout/orgChart1"/>
    <dgm:cxn modelId="{79149EF9-AD88-43B9-9A09-D33EDBD201B5}" type="presParOf" srcId="{059D06FB-0D47-453D-ABD6-9D3EC1BF72BB}" destId="{0C3DA4A8-9D6D-483A-9C52-F0549365C8C5}" srcOrd="0" destOrd="0" presId="urn:microsoft.com/office/officeart/2005/8/layout/orgChart1"/>
    <dgm:cxn modelId="{EB69A4FF-41F8-4EEB-B6CC-3816A0AEDEBD}" type="presParOf" srcId="{0C3DA4A8-9D6D-483A-9C52-F0549365C8C5}" destId="{74082AE1-1E68-4E56-8EB6-1FD67BD7CD20}" srcOrd="0" destOrd="0" presId="urn:microsoft.com/office/officeart/2005/8/layout/orgChart1"/>
    <dgm:cxn modelId="{E52D37A3-88E1-48C5-BCD2-38B272949AD8}" type="presParOf" srcId="{0C3DA4A8-9D6D-483A-9C52-F0549365C8C5}" destId="{0FE8B630-7787-48DD-AB40-245FF603F432}" srcOrd="1" destOrd="0" presId="urn:microsoft.com/office/officeart/2005/8/layout/orgChart1"/>
    <dgm:cxn modelId="{3DCD59D9-DC82-412D-BDFD-03F2F7E449B9}" type="presParOf" srcId="{059D06FB-0D47-453D-ABD6-9D3EC1BF72BB}" destId="{A5AB58D9-C9DD-4E87-9057-B4915F9FE3AD}" srcOrd="1" destOrd="0" presId="urn:microsoft.com/office/officeart/2005/8/layout/orgChart1"/>
    <dgm:cxn modelId="{565A1CBE-0C8A-4386-9FBF-65652FA38083}" type="presParOf" srcId="{059D06FB-0D47-453D-ABD6-9D3EC1BF72BB}" destId="{FD5AC8AA-7EA9-412B-8AE9-88BEC5D58C76}" srcOrd="2" destOrd="0" presId="urn:microsoft.com/office/officeart/2005/8/layout/orgChart1"/>
    <dgm:cxn modelId="{6EF43ED1-5499-43D2-89FD-2A449D09FBA8}" type="presParOf" srcId="{495975A5-163E-47F4-9186-67ED8F2D7F52}" destId="{6D9DA4E1-FE62-4B47-9FE7-553E57DCF696}" srcOrd="2" destOrd="0" presId="urn:microsoft.com/office/officeart/2005/8/layout/orgChart1"/>
    <dgm:cxn modelId="{84F8890D-18F6-4AE1-B3AA-20A9E699F577}" type="presParOf" srcId="{E463EE8D-3329-4158-9A18-45D1A4F20746}" destId="{E61D2D5B-9EEA-4483-A3FF-F69627B98927}" srcOrd="2" destOrd="0" presId="urn:microsoft.com/office/officeart/2005/8/layout/orgChart1"/>
    <dgm:cxn modelId="{7BFD9A57-C5E1-4E49-9F28-90D26C6573CC}" type="presParOf" srcId="{E463EE8D-3329-4158-9A18-45D1A4F20746}" destId="{AF0394B7-1F6E-41A6-822F-1B696F6C11E4}" srcOrd="3" destOrd="0" presId="urn:microsoft.com/office/officeart/2005/8/layout/orgChart1"/>
    <dgm:cxn modelId="{6BA8646B-B64C-4A74-B5D0-673FD9B87E43}" type="presParOf" srcId="{AF0394B7-1F6E-41A6-822F-1B696F6C11E4}" destId="{8B74D52E-E039-42C4-8025-EB18A7543B3C}" srcOrd="0" destOrd="0" presId="urn:microsoft.com/office/officeart/2005/8/layout/orgChart1"/>
    <dgm:cxn modelId="{711DD189-8446-434C-8CA8-75A58421DBFA}" type="presParOf" srcId="{8B74D52E-E039-42C4-8025-EB18A7543B3C}" destId="{291E1891-BE38-46D3-ACD5-CDCA5615E63E}" srcOrd="0" destOrd="0" presId="urn:microsoft.com/office/officeart/2005/8/layout/orgChart1"/>
    <dgm:cxn modelId="{494FECF7-FB8E-42B1-B4F9-41024E9016C4}" type="presParOf" srcId="{8B74D52E-E039-42C4-8025-EB18A7543B3C}" destId="{DD5388AE-0329-41E3-8831-3831C22D5E55}" srcOrd="1" destOrd="0" presId="urn:microsoft.com/office/officeart/2005/8/layout/orgChart1"/>
    <dgm:cxn modelId="{60C62DF2-2AB1-4262-9A0E-EB7645E2B568}" type="presParOf" srcId="{AF0394B7-1F6E-41A6-822F-1B696F6C11E4}" destId="{4694F6F1-D527-47C8-B8D5-5E1F4D1863C2}" srcOrd="1" destOrd="0" presId="urn:microsoft.com/office/officeart/2005/8/layout/orgChart1"/>
    <dgm:cxn modelId="{F22F4854-CB4F-4684-AEAF-2DA199A5A2FF}" type="presParOf" srcId="{4694F6F1-D527-47C8-B8D5-5E1F4D1863C2}" destId="{22A00BD8-360D-461C-816C-5821F5821BE9}" srcOrd="0" destOrd="0" presId="urn:microsoft.com/office/officeart/2005/8/layout/orgChart1"/>
    <dgm:cxn modelId="{72AB8992-96B8-42E1-BB46-92E4F8DD33F4}" type="presParOf" srcId="{4694F6F1-D527-47C8-B8D5-5E1F4D1863C2}" destId="{D0ABA355-ED07-48DC-9B43-17DB9D6F186F}" srcOrd="1" destOrd="0" presId="urn:microsoft.com/office/officeart/2005/8/layout/orgChart1"/>
    <dgm:cxn modelId="{2D1F8D15-50E1-4A72-9FB4-6919D32E20AD}" type="presParOf" srcId="{D0ABA355-ED07-48DC-9B43-17DB9D6F186F}" destId="{613276D3-6E27-436B-B236-0F22E4F567EE}" srcOrd="0" destOrd="0" presId="urn:microsoft.com/office/officeart/2005/8/layout/orgChart1"/>
    <dgm:cxn modelId="{A3FE633F-9408-4540-BCAB-5BF8BAA3F9A5}" type="presParOf" srcId="{613276D3-6E27-436B-B236-0F22E4F567EE}" destId="{E46F1C8E-C60E-4B29-B946-2F57B4306E73}" srcOrd="0" destOrd="0" presId="urn:microsoft.com/office/officeart/2005/8/layout/orgChart1"/>
    <dgm:cxn modelId="{C81C0C81-6CA3-4DC6-9E31-57F1A07022CF}" type="presParOf" srcId="{613276D3-6E27-436B-B236-0F22E4F567EE}" destId="{83CF7BD6-FCE5-4748-8B3D-31200D8E9072}" srcOrd="1" destOrd="0" presId="urn:microsoft.com/office/officeart/2005/8/layout/orgChart1"/>
    <dgm:cxn modelId="{5457C9E1-A9E4-4261-83D6-60DEC70974C1}" type="presParOf" srcId="{D0ABA355-ED07-48DC-9B43-17DB9D6F186F}" destId="{D52678F5-8D85-43A6-9F41-5D36D2ED368D}" srcOrd="1" destOrd="0" presId="urn:microsoft.com/office/officeart/2005/8/layout/orgChart1"/>
    <dgm:cxn modelId="{811E703C-D96A-4BD2-8514-33A64B1229E3}" type="presParOf" srcId="{D0ABA355-ED07-48DC-9B43-17DB9D6F186F}" destId="{C63B5B46-0D2C-4634-B1AA-F425E8D566A8}" srcOrd="2" destOrd="0" presId="urn:microsoft.com/office/officeart/2005/8/layout/orgChart1"/>
    <dgm:cxn modelId="{6EA7EB3F-2A05-451F-A355-2BF5A007353A}" type="presParOf" srcId="{AF0394B7-1F6E-41A6-822F-1B696F6C11E4}" destId="{A26B4BB0-3495-4BAB-8442-4EA17DB40535}" srcOrd="2" destOrd="0" presId="urn:microsoft.com/office/officeart/2005/8/layout/orgChart1"/>
    <dgm:cxn modelId="{A380D513-FBA6-48AA-8EEE-DDF4A71050A3}" type="presParOf" srcId="{E463EE8D-3329-4158-9A18-45D1A4F20746}" destId="{68020281-A113-4B79-8F96-6FB3BB32CE20}" srcOrd="4" destOrd="0" presId="urn:microsoft.com/office/officeart/2005/8/layout/orgChart1"/>
    <dgm:cxn modelId="{48B05C1F-7DE2-44C9-8552-0CC21D9A9CDC}" type="presParOf" srcId="{E463EE8D-3329-4158-9A18-45D1A4F20746}" destId="{C8EA958B-10B8-45C4-8C2C-DB1B9FBF2B5F}" srcOrd="5" destOrd="0" presId="urn:microsoft.com/office/officeart/2005/8/layout/orgChart1"/>
    <dgm:cxn modelId="{1F7C606F-D121-4893-A122-B40815285908}" type="presParOf" srcId="{C8EA958B-10B8-45C4-8C2C-DB1B9FBF2B5F}" destId="{A55E420A-6B2F-49A7-A8A6-E6638C1486D9}" srcOrd="0" destOrd="0" presId="urn:microsoft.com/office/officeart/2005/8/layout/orgChart1"/>
    <dgm:cxn modelId="{C471A6F5-0F99-414A-82DE-0A6515726548}" type="presParOf" srcId="{A55E420A-6B2F-49A7-A8A6-E6638C1486D9}" destId="{8F671873-CB6A-4DC1-8C50-CE43B58A2C9A}" srcOrd="0" destOrd="0" presId="urn:microsoft.com/office/officeart/2005/8/layout/orgChart1"/>
    <dgm:cxn modelId="{A237F52F-7016-4CF3-AFF2-29CC513FED18}" type="presParOf" srcId="{A55E420A-6B2F-49A7-A8A6-E6638C1486D9}" destId="{FF282C5E-30E4-4801-B29A-E8D4F93B3C7A}" srcOrd="1" destOrd="0" presId="urn:microsoft.com/office/officeart/2005/8/layout/orgChart1"/>
    <dgm:cxn modelId="{26381DE3-76B4-4DEE-9DAA-0436CFDAF785}" type="presParOf" srcId="{C8EA958B-10B8-45C4-8C2C-DB1B9FBF2B5F}" destId="{6C4B36C6-C542-4F1C-8833-8F3298ECCB4C}" srcOrd="1" destOrd="0" presId="urn:microsoft.com/office/officeart/2005/8/layout/orgChart1"/>
    <dgm:cxn modelId="{FDCB955F-9075-4434-9FA1-41E213B7D40D}" type="presParOf" srcId="{6C4B36C6-C542-4F1C-8833-8F3298ECCB4C}" destId="{359F45F2-37E0-493F-994A-06A78DF1913C}" srcOrd="0" destOrd="0" presId="urn:microsoft.com/office/officeart/2005/8/layout/orgChart1"/>
    <dgm:cxn modelId="{0B373412-8603-4777-9C34-42E7164413A5}" type="presParOf" srcId="{6C4B36C6-C542-4F1C-8833-8F3298ECCB4C}" destId="{9DB6FB75-1F8B-473F-B617-C217C3286954}" srcOrd="1" destOrd="0" presId="urn:microsoft.com/office/officeart/2005/8/layout/orgChart1"/>
    <dgm:cxn modelId="{C85F8FBE-D5E8-4DB2-82EF-AAC7F357647C}" type="presParOf" srcId="{9DB6FB75-1F8B-473F-B617-C217C3286954}" destId="{2F3014CF-96BD-4182-B848-FFDF6F53ED15}" srcOrd="0" destOrd="0" presId="urn:microsoft.com/office/officeart/2005/8/layout/orgChart1"/>
    <dgm:cxn modelId="{F4E08F1B-8132-4A91-99E0-02F171821DB2}" type="presParOf" srcId="{2F3014CF-96BD-4182-B848-FFDF6F53ED15}" destId="{7A0524D7-3DAC-4521-815B-66453C0B6CD6}" srcOrd="0" destOrd="0" presId="urn:microsoft.com/office/officeart/2005/8/layout/orgChart1"/>
    <dgm:cxn modelId="{47230BC0-0D98-444B-A39A-9AE7E2807558}" type="presParOf" srcId="{2F3014CF-96BD-4182-B848-FFDF6F53ED15}" destId="{37BA9D32-C4D4-4B2E-AD6C-82A3E45F3650}" srcOrd="1" destOrd="0" presId="urn:microsoft.com/office/officeart/2005/8/layout/orgChart1"/>
    <dgm:cxn modelId="{2209F95C-9E7A-4B1F-98F0-880B4246A86E}" type="presParOf" srcId="{9DB6FB75-1F8B-473F-B617-C217C3286954}" destId="{D99E0E36-690A-45B6-800A-EF53E20DF345}" srcOrd="1" destOrd="0" presId="urn:microsoft.com/office/officeart/2005/8/layout/orgChart1"/>
    <dgm:cxn modelId="{93768DA7-FFF7-4637-8E5C-99D3E6699F81}" type="presParOf" srcId="{9DB6FB75-1F8B-473F-B617-C217C3286954}" destId="{E453CBB5-5417-4607-9BFE-01C4C92C277B}" srcOrd="2" destOrd="0" presId="urn:microsoft.com/office/officeart/2005/8/layout/orgChart1"/>
    <dgm:cxn modelId="{E7F84482-B6F4-4834-B5E5-4B458495ACF8}" type="presParOf" srcId="{C8EA958B-10B8-45C4-8C2C-DB1B9FBF2B5F}" destId="{5018309A-BF9D-4C8E-B735-D7416727EA5B}" srcOrd="2" destOrd="0" presId="urn:microsoft.com/office/officeart/2005/8/layout/orgChart1"/>
    <dgm:cxn modelId="{F75BDDDC-BF8E-41A4-8204-AF9FB2D4EE18}" type="presParOf" srcId="{E463EE8D-3329-4158-9A18-45D1A4F20746}" destId="{2E7556F9-9BD7-4AA5-8DAA-1DC71E47EFE0}" srcOrd="6" destOrd="0" presId="urn:microsoft.com/office/officeart/2005/8/layout/orgChart1"/>
    <dgm:cxn modelId="{4937EABB-ABE2-46F3-8F5F-06825D40F099}" type="presParOf" srcId="{E463EE8D-3329-4158-9A18-45D1A4F20746}" destId="{22528ABE-B486-44F3-B618-5020EB521238}" srcOrd="7" destOrd="0" presId="urn:microsoft.com/office/officeart/2005/8/layout/orgChart1"/>
    <dgm:cxn modelId="{38C3E55C-E14B-49BB-B7B8-E51EB66374E0}" type="presParOf" srcId="{22528ABE-B486-44F3-B618-5020EB521238}" destId="{96A0E764-64DC-416B-BEB9-243BBBB53DF0}" srcOrd="0" destOrd="0" presId="urn:microsoft.com/office/officeart/2005/8/layout/orgChart1"/>
    <dgm:cxn modelId="{B693EBDC-60C9-428B-B8B2-C6E74E19B0D9}" type="presParOf" srcId="{96A0E764-64DC-416B-BEB9-243BBBB53DF0}" destId="{C19E10EE-629F-43D4-A71B-8531D12AE561}" srcOrd="0" destOrd="0" presId="urn:microsoft.com/office/officeart/2005/8/layout/orgChart1"/>
    <dgm:cxn modelId="{92B1757B-CE65-4D90-85B0-8A325DD70917}" type="presParOf" srcId="{96A0E764-64DC-416B-BEB9-243BBBB53DF0}" destId="{B1B45A43-253C-4ED4-9922-4580EEE1CE83}" srcOrd="1" destOrd="0" presId="urn:microsoft.com/office/officeart/2005/8/layout/orgChart1"/>
    <dgm:cxn modelId="{2F4D9C56-AEE0-4E9E-BBB5-F053FB1B8434}" type="presParOf" srcId="{22528ABE-B486-44F3-B618-5020EB521238}" destId="{4C5E5AC1-4386-43D9-B90E-E6211F9D07AC}" srcOrd="1" destOrd="0" presId="urn:microsoft.com/office/officeart/2005/8/layout/orgChart1"/>
    <dgm:cxn modelId="{3CC9726C-7242-4111-ABAC-BBC3E54AABB4}" type="presParOf" srcId="{4C5E5AC1-4386-43D9-B90E-E6211F9D07AC}" destId="{DB6CC7B3-44FD-41F4-8220-2AEC5C891D12}" srcOrd="0" destOrd="0" presId="urn:microsoft.com/office/officeart/2005/8/layout/orgChart1"/>
    <dgm:cxn modelId="{D4832BDD-50D2-4118-A820-22373E5B702A}" type="presParOf" srcId="{4C5E5AC1-4386-43D9-B90E-E6211F9D07AC}" destId="{D7EAEEA7-DC7D-494A-AB15-F8D263775224}" srcOrd="1" destOrd="0" presId="urn:microsoft.com/office/officeart/2005/8/layout/orgChart1"/>
    <dgm:cxn modelId="{D5A988E1-439D-4686-88B4-365DCC6FCABC}" type="presParOf" srcId="{D7EAEEA7-DC7D-494A-AB15-F8D263775224}" destId="{933C7293-B056-4428-88D3-00E3D14E36A8}" srcOrd="0" destOrd="0" presId="urn:microsoft.com/office/officeart/2005/8/layout/orgChart1"/>
    <dgm:cxn modelId="{C377801D-D5EF-4B1D-84B1-94CE0D8A2C2E}" type="presParOf" srcId="{933C7293-B056-4428-88D3-00E3D14E36A8}" destId="{FF596911-2B0E-4D37-8A4E-09A74BA7E6A9}" srcOrd="0" destOrd="0" presId="urn:microsoft.com/office/officeart/2005/8/layout/orgChart1"/>
    <dgm:cxn modelId="{F09853B4-81A8-46A3-8695-6076DFB83FA9}" type="presParOf" srcId="{933C7293-B056-4428-88D3-00E3D14E36A8}" destId="{A16DBD7C-7C41-4A1F-BBBB-00462CE6E77A}" srcOrd="1" destOrd="0" presId="urn:microsoft.com/office/officeart/2005/8/layout/orgChart1"/>
    <dgm:cxn modelId="{54E011D9-4D9C-439D-BE5E-2B9BB9E05FDF}" type="presParOf" srcId="{D7EAEEA7-DC7D-494A-AB15-F8D263775224}" destId="{6BCEDB41-F85D-44BD-A09F-ECAD7C3FE1AD}" srcOrd="1" destOrd="0" presId="urn:microsoft.com/office/officeart/2005/8/layout/orgChart1"/>
    <dgm:cxn modelId="{62662488-7B0A-4397-9D24-228076A26887}" type="presParOf" srcId="{D7EAEEA7-DC7D-494A-AB15-F8D263775224}" destId="{3CF37FC5-B5F7-4FF6-9A2B-BE2E6C2F34C0}" srcOrd="2" destOrd="0" presId="urn:microsoft.com/office/officeart/2005/8/layout/orgChart1"/>
    <dgm:cxn modelId="{B86AAF2D-45CD-4D77-B960-FAC8CB39A088}" type="presParOf" srcId="{22528ABE-B486-44F3-B618-5020EB521238}" destId="{15B84913-4010-4DD9-82D8-A39DAB9FB2AD}" srcOrd="2" destOrd="0" presId="urn:microsoft.com/office/officeart/2005/8/layout/orgChart1"/>
    <dgm:cxn modelId="{66D681BA-5599-4288-9FF5-5F1898C2CC5A}" type="presParOf" srcId="{E463EE8D-3329-4158-9A18-45D1A4F20746}" destId="{0035E46B-185D-4D56-9DFF-28419C059BB8}" srcOrd="8" destOrd="0" presId="urn:microsoft.com/office/officeart/2005/8/layout/orgChart1"/>
    <dgm:cxn modelId="{5E5500E5-660E-4F58-850E-E309FE721339}" type="presParOf" srcId="{E463EE8D-3329-4158-9A18-45D1A4F20746}" destId="{EEDED58B-E4CB-4235-AC44-F1D179149627}" srcOrd="9" destOrd="0" presId="urn:microsoft.com/office/officeart/2005/8/layout/orgChart1"/>
    <dgm:cxn modelId="{23215B7B-157B-46B5-BE8E-36D33675B644}" type="presParOf" srcId="{EEDED58B-E4CB-4235-AC44-F1D179149627}" destId="{8F1ACCD4-3F10-42CF-87EF-2BAD2E9843F8}" srcOrd="0" destOrd="0" presId="urn:microsoft.com/office/officeart/2005/8/layout/orgChart1"/>
    <dgm:cxn modelId="{67FB6B9A-A9DC-4659-ACE3-ADA3BBD2FA7B}" type="presParOf" srcId="{8F1ACCD4-3F10-42CF-87EF-2BAD2E9843F8}" destId="{E29387E5-5F50-4B37-BBE3-E72E5D632861}" srcOrd="0" destOrd="0" presId="urn:microsoft.com/office/officeart/2005/8/layout/orgChart1"/>
    <dgm:cxn modelId="{B1BBC8A8-0646-4207-BB21-179CB6AB909F}" type="presParOf" srcId="{8F1ACCD4-3F10-42CF-87EF-2BAD2E9843F8}" destId="{DD8B4F9B-EF48-48B6-8575-5A7C461608BC}" srcOrd="1" destOrd="0" presId="urn:microsoft.com/office/officeart/2005/8/layout/orgChart1"/>
    <dgm:cxn modelId="{A9F76C54-2565-45F6-B10F-EC84512B012A}" type="presParOf" srcId="{EEDED58B-E4CB-4235-AC44-F1D179149627}" destId="{F2CDD5D4-AD4E-407A-B428-3937AF4E0D77}" srcOrd="1" destOrd="0" presId="urn:microsoft.com/office/officeart/2005/8/layout/orgChart1"/>
    <dgm:cxn modelId="{20C4A453-C4EC-4A8E-A190-62C07CF5B7E2}" type="presParOf" srcId="{F2CDD5D4-AD4E-407A-B428-3937AF4E0D77}" destId="{D6DFC1B5-DF2C-47A3-BFEC-86333586734B}" srcOrd="0" destOrd="0" presId="urn:microsoft.com/office/officeart/2005/8/layout/orgChart1"/>
    <dgm:cxn modelId="{EE263881-4FE5-495C-A956-009D924787B3}" type="presParOf" srcId="{F2CDD5D4-AD4E-407A-B428-3937AF4E0D77}" destId="{A59F06F6-C0EA-46E1-8742-B2C2DB90E37C}" srcOrd="1" destOrd="0" presId="urn:microsoft.com/office/officeart/2005/8/layout/orgChart1"/>
    <dgm:cxn modelId="{54F7290E-1BB7-4A1B-B8EA-70AFF8F38FEB}" type="presParOf" srcId="{A59F06F6-C0EA-46E1-8742-B2C2DB90E37C}" destId="{A63C1F5F-C79B-498D-BC10-0E4DA2FED8CA}" srcOrd="0" destOrd="0" presId="urn:microsoft.com/office/officeart/2005/8/layout/orgChart1"/>
    <dgm:cxn modelId="{EDFDBDE6-6DD6-4C54-9793-26E2989E7BE9}" type="presParOf" srcId="{A63C1F5F-C79B-498D-BC10-0E4DA2FED8CA}" destId="{A16E3C9C-A56C-4A00-BADE-79CF08E1B1D4}" srcOrd="0" destOrd="0" presId="urn:microsoft.com/office/officeart/2005/8/layout/orgChart1"/>
    <dgm:cxn modelId="{FDCCFF41-1776-4DD3-B0B7-526474ACF0CF}" type="presParOf" srcId="{A63C1F5F-C79B-498D-BC10-0E4DA2FED8CA}" destId="{58F7CC02-1D27-465D-B2B7-6147CA5ECB56}" srcOrd="1" destOrd="0" presId="urn:microsoft.com/office/officeart/2005/8/layout/orgChart1"/>
    <dgm:cxn modelId="{479E275B-204A-4844-9E1B-B3597A5442F7}" type="presParOf" srcId="{A59F06F6-C0EA-46E1-8742-B2C2DB90E37C}" destId="{35A87538-F388-4048-95F6-B72CFB5BD775}" srcOrd="1" destOrd="0" presId="urn:microsoft.com/office/officeart/2005/8/layout/orgChart1"/>
    <dgm:cxn modelId="{DE5E5F79-5DC2-431B-9734-FD2D96F92982}" type="presParOf" srcId="{A59F06F6-C0EA-46E1-8742-B2C2DB90E37C}" destId="{D39D1EEE-B0CD-412C-8ED3-5E91AA50A0C6}" srcOrd="2" destOrd="0" presId="urn:microsoft.com/office/officeart/2005/8/layout/orgChart1"/>
    <dgm:cxn modelId="{135153BA-DE8D-4881-8666-EB3F64FD18B9}" type="presParOf" srcId="{EEDED58B-E4CB-4235-AC44-F1D179149627}" destId="{61520106-026F-497F-91E2-5F5D5BD8DE20}" srcOrd="2" destOrd="0" presId="urn:microsoft.com/office/officeart/2005/8/layout/orgChart1"/>
    <dgm:cxn modelId="{196DD045-2D7E-4C8A-8FC3-9DD79D57FCF2}" type="presParOf" srcId="{E463EE8D-3329-4158-9A18-45D1A4F20746}" destId="{1BEF2864-A950-421C-ABB1-1CEF04DB8693}" srcOrd="10" destOrd="0" presId="urn:microsoft.com/office/officeart/2005/8/layout/orgChart1"/>
    <dgm:cxn modelId="{C87753EC-22C7-45D4-BA08-8C6E7378834C}" type="presParOf" srcId="{E463EE8D-3329-4158-9A18-45D1A4F20746}" destId="{EC9B7D81-2FA3-4C5C-840E-AA28593E6027}" srcOrd="11" destOrd="0" presId="urn:microsoft.com/office/officeart/2005/8/layout/orgChart1"/>
    <dgm:cxn modelId="{F8C02BEE-29B3-4135-A4F5-E743F03C6686}" type="presParOf" srcId="{EC9B7D81-2FA3-4C5C-840E-AA28593E6027}" destId="{68CE8939-7EBB-4E85-8411-8F07E6332EB6}" srcOrd="0" destOrd="0" presId="urn:microsoft.com/office/officeart/2005/8/layout/orgChart1"/>
    <dgm:cxn modelId="{8381B39E-B910-4627-8BCB-67C7BDA4B29A}" type="presParOf" srcId="{68CE8939-7EBB-4E85-8411-8F07E6332EB6}" destId="{35594485-59BF-41C2-A450-63098D473C9B}" srcOrd="0" destOrd="0" presId="urn:microsoft.com/office/officeart/2005/8/layout/orgChart1"/>
    <dgm:cxn modelId="{2326FE51-84F1-4739-82F0-5BA025F91A39}" type="presParOf" srcId="{68CE8939-7EBB-4E85-8411-8F07E6332EB6}" destId="{AAC45968-687C-4B41-B1B7-1DD902123E5A}" srcOrd="1" destOrd="0" presId="urn:microsoft.com/office/officeart/2005/8/layout/orgChart1"/>
    <dgm:cxn modelId="{E0F069B7-BEF0-4B09-90CE-EFB371571E01}" type="presParOf" srcId="{EC9B7D81-2FA3-4C5C-840E-AA28593E6027}" destId="{B4C12336-BE20-4750-8E45-C88537C42BE4}" srcOrd="1" destOrd="0" presId="urn:microsoft.com/office/officeart/2005/8/layout/orgChart1"/>
    <dgm:cxn modelId="{F8AAE9C3-3CB3-429B-9C26-AA792E4F0D63}" type="presParOf" srcId="{B4C12336-BE20-4750-8E45-C88537C42BE4}" destId="{C458C675-3BFD-4796-AFF9-FF7923448D49}" srcOrd="0" destOrd="0" presId="urn:microsoft.com/office/officeart/2005/8/layout/orgChart1"/>
    <dgm:cxn modelId="{CB9B58D3-EF30-4526-9B96-9E5077AA062A}" type="presParOf" srcId="{B4C12336-BE20-4750-8E45-C88537C42BE4}" destId="{15711435-9324-45B3-9AFB-C70531DA282A}" srcOrd="1" destOrd="0" presId="urn:microsoft.com/office/officeart/2005/8/layout/orgChart1"/>
    <dgm:cxn modelId="{D0C1E9C3-B0E5-418F-A3EB-5D97B4144284}" type="presParOf" srcId="{15711435-9324-45B3-9AFB-C70531DA282A}" destId="{80644854-437E-4238-B360-9FBAA3B4D08B}" srcOrd="0" destOrd="0" presId="urn:microsoft.com/office/officeart/2005/8/layout/orgChart1"/>
    <dgm:cxn modelId="{ABB34F6A-33C1-4C92-8A47-4DACAA77A6C2}" type="presParOf" srcId="{80644854-437E-4238-B360-9FBAA3B4D08B}" destId="{FD0D8C59-8D86-4246-B22A-11FAD2326327}" srcOrd="0" destOrd="0" presId="urn:microsoft.com/office/officeart/2005/8/layout/orgChart1"/>
    <dgm:cxn modelId="{7F17640D-64B5-447D-86D9-D244DDEE3E39}" type="presParOf" srcId="{80644854-437E-4238-B360-9FBAA3B4D08B}" destId="{4C3E290A-8FD6-4834-B81B-CEDBCAA162A6}" srcOrd="1" destOrd="0" presId="urn:microsoft.com/office/officeart/2005/8/layout/orgChart1"/>
    <dgm:cxn modelId="{8A4EDDFF-AB91-471F-AF99-61B1B37E3B27}" type="presParOf" srcId="{15711435-9324-45B3-9AFB-C70531DA282A}" destId="{82A13B43-F580-45C2-8C0C-2C5F129F417B}" srcOrd="1" destOrd="0" presId="urn:microsoft.com/office/officeart/2005/8/layout/orgChart1"/>
    <dgm:cxn modelId="{28A33D07-01EC-4897-9DC1-6C3618A4F5A8}" type="presParOf" srcId="{15711435-9324-45B3-9AFB-C70531DA282A}" destId="{F79D84E7-25BD-4A62-9385-6A24F06384BF}" srcOrd="2" destOrd="0" presId="urn:microsoft.com/office/officeart/2005/8/layout/orgChart1"/>
    <dgm:cxn modelId="{83323165-E133-4C2E-95CA-30AF1055C709}" type="presParOf" srcId="{EC9B7D81-2FA3-4C5C-840E-AA28593E6027}" destId="{19286698-61B3-42F0-AF1D-8620EF03C0E0}" srcOrd="2" destOrd="0" presId="urn:microsoft.com/office/officeart/2005/8/layout/orgChart1"/>
    <dgm:cxn modelId="{FEAE05C9-004D-4435-9065-2BB35F818711}" type="presParOf" srcId="{5312C250-F000-4B5F-9828-5F1C910BF5D1}" destId="{3DC7905B-FA61-4226-B582-8CA59C8F592E}" srcOrd="2" destOrd="0" presId="urn:microsoft.com/office/officeart/2005/8/layout/orgChar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34F8C5E-7AC2-43EE-B9EB-0D473395C1B2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DFB52242-C45C-4F8B-BC21-A9617C559EC3}">
      <dgm:prSet phldrT="[Text]" custT="1"/>
      <dgm:spPr>
        <a:solidFill>
          <a:schemeClr val="tx2">
            <a:lumMod val="75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20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2000" dirty="0"/>
        </a:p>
      </dgm:t>
    </dgm:pt>
    <dgm:pt modelId="{67D21C2F-EE6F-4332-A802-3E6C1313BFF0}" type="parTrans" cxnId="{F1F3B747-8A88-415A-A24B-1D30948772A6}">
      <dgm:prSet/>
      <dgm:spPr/>
      <dgm:t>
        <a:bodyPr/>
        <a:lstStyle/>
        <a:p>
          <a:endParaRPr lang="de-DE"/>
        </a:p>
      </dgm:t>
    </dgm:pt>
    <dgm:pt modelId="{79BC229C-D6CA-4C9E-857E-22C1F8E84C25}" type="sibTrans" cxnId="{F1F3B747-8A88-415A-A24B-1D30948772A6}">
      <dgm:prSet/>
      <dgm:spPr/>
      <dgm:t>
        <a:bodyPr/>
        <a:lstStyle/>
        <a:p>
          <a:endParaRPr lang="de-DE"/>
        </a:p>
      </dgm:t>
    </dgm:pt>
    <dgm:pt modelId="{33E66B64-6E74-44DE-876E-1FA911254E01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0DBC8291-3A5C-47D9-A81F-F6EEFDC5E312}" type="parTrans" cxnId="{D38CBFAA-B233-447B-9937-EC1ED628D349}">
      <dgm:prSet/>
      <dgm:spPr/>
      <dgm:t>
        <a:bodyPr/>
        <a:lstStyle/>
        <a:p>
          <a:endParaRPr lang="de-DE"/>
        </a:p>
      </dgm:t>
    </dgm:pt>
    <dgm:pt modelId="{1BF0774C-027E-4517-AA93-28E5267BC84C}" type="sibTrans" cxnId="{D38CBFAA-B233-447B-9937-EC1ED628D349}">
      <dgm:prSet/>
      <dgm:spPr/>
      <dgm:t>
        <a:bodyPr/>
        <a:lstStyle/>
        <a:p>
          <a:endParaRPr lang="de-DE"/>
        </a:p>
      </dgm:t>
    </dgm:pt>
    <dgm:pt modelId="{7EE2D50C-EFBC-449F-96DF-CC9AF1BAE878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12611D15-F917-47C7-8B37-BBA3E615FBB1}" type="parTrans" cxnId="{A0D0D87F-AB78-4B4B-95B8-7A2BD209D7D6}">
      <dgm:prSet/>
      <dgm:spPr/>
      <dgm:t>
        <a:bodyPr/>
        <a:lstStyle/>
        <a:p>
          <a:endParaRPr lang="de-DE"/>
        </a:p>
      </dgm:t>
    </dgm:pt>
    <dgm:pt modelId="{ED315AD2-FA35-4689-90E1-EEBB0CAC1FFA}" type="sibTrans" cxnId="{A0D0D87F-AB78-4B4B-95B8-7A2BD209D7D6}">
      <dgm:prSet/>
      <dgm:spPr/>
      <dgm:t>
        <a:bodyPr/>
        <a:lstStyle/>
        <a:p>
          <a:endParaRPr lang="de-DE"/>
        </a:p>
      </dgm:t>
    </dgm:pt>
    <dgm:pt modelId="{0AC6C2A4-6BED-48FC-8894-ED24E24D33E1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E88B7E5F-710F-416F-90D5-6B28E2DE0DA6}" type="parTrans" cxnId="{B8B0B6D2-75B9-4643-BB82-545B25C2D3F5}">
      <dgm:prSet/>
      <dgm:spPr/>
      <dgm:t>
        <a:bodyPr/>
        <a:lstStyle/>
        <a:p>
          <a:endParaRPr lang="de-DE"/>
        </a:p>
      </dgm:t>
    </dgm:pt>
    <dgm:pt modelId="{4B74E639-2B57-48A0-B40C-63FBBE05A4B1}" type="sibTrans" cxnId="{B8B0B6D2-75B9-4643-BB82-545B25C2D3F5}">
      <dgm:prSet/>
      <dgm:spPr/>
      <dgm:t>
        <a:bodyPr/>
        <a:lstStyle/>
        <a:p>
          <a:endParaRPr lang="de-DE"/>
        </a:p>
      </dgm:t>
    </dgm:pt>
    <dgm:pt modelId="{05A548B1-80FA-40BF-BEDE-4060D5C1BF60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D83A70C6-450B-4F71-8BDB-A7200F66657F}" type="parTrans" cxnId="{099D0682-4856-44E8-BA74-895D98A236A2}">
      <dgm:prSet/>
      <dgm:spPr/>
      <dgm:t>
        <a:bodyPr/>
        <a:lstStyle/>
        <a:p>
          <a:endParaRPr lang="de-DE"/>
        </a:p>
      </dgm:t>
    </dgm:pt>
    <dgm:pt modelId="{5599F70C-FFC8-4B2A-B1E3-3756692D0CD3}" type="sibTrans" cxnId="{099D0682-4856-44E8-BA74-895D98A236A2}">
      <dgm:prSet/>
      <dgm:spPr/>
      <dgm:t>
        <a:bodyPr/>
        <a:lstStyle/>
        <a:p>
          <a:endParaRPr lang="de-DE"/>
        </a:p>
      </dgm:t>
    </dgm:pt>
    <dgm:pt modelId="{F8F62D1D-6565-4E47-A767-CEB4D952A0E3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97CAC142-BB2B-4F4A-AE6C-932A2B3337FA}" type="parTrans" cxnId="{1D0CCE76-EACE-4C4F-BD2A-C2E7C9222A3B}">
      <dgm:prSet/>
      <dgm:spPr/>
      <dgm:t>
        <a:bodyPr/>
        <a:lstStyle/>
        <a:p>
          <a:endParaRPr lang="de-DE"/>
        </a:p>
      </dgm:t>
    </dgm:pt>
    <dgm:pt modelId="{949C7645-28C8-492D-BA6D-F183A42A091A}" type="sibTrans" cxnId="{1D0CCE76-EACE-4C4F-BD2A-C2E7C9222A3B}">
      <dgm:prSet/>
      <dgm:spPr/>
      <dgm:t>
        <a:bodyPr/>
        <a:lstStyle/>
        <a:p>
          <a:endParaRPr lang="de-DE"/>
        </a:p>
      </dgm:t>
    </dgm:pt>
    <dgm:pt modelId="{95A636E5-54B3-48BA-A704-0D2C81719527}">
      <dgm:prSet phldrT="[Text]" custT="1"/>
      <dgm:spPr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dirty="0"/>
        </a:p>
      </dgm:t>
    </dgm:pt>
    <dgm:pt modelId="{C64EFC2C-0CA5-4A76-9DBB-81066CF11A8C}" type="parTrans" cxnId="{9319F167-FCD2-4388-8869-D860B72D38EC}">
      <dgm:prSet/>
      <dgm:spPr/>
      <dgm:t>
        <a:bodyPr/>
        <a:lstStyle/>
        <a:p>
          <a:endParaRPr lang="de-DE"/>
        </a:p>
      </dgm:t>
    </dgm:pt>
    <dgm:pt modelId="{5B3FECA4-6ECE-477B-99FA-AF144DEA5166}" type="sibTrans" cxnId="{9319F167-FCD2-4388-8869-D860B72D38EC}">
      <dgm:prSet/>
      <dgm:spPr/>
      <dgm:t>
        <a:bodyPr/>
        <a:lstStyle/>
        <a:p>
          <a:endParaRPr lang="de-DE"/>
        </a:p>
      </dgm:t>
    </dgm:pt>
    <dgm:pt modelId="{C33F1A44-8DAA-4D90-8C0C-8119608E357B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6BC40865-0725-44DD-A2E4-79F7DBF8AE2B}" type="parTrans" cxnId="{40BC842E-E4AE-4903-80B6-AFBF8D724161}">
      <dgm:prSet/>
      <dgm:spPr/>
      <dgm:t>
        <a:bodyPr/>
        <a:lstStyle/>
        <a:p>
          <a:endParaRPr lang="de-DE"/>
        </a:p>
      </dgm:t>
    </dgm:pt>
    <dgm:pt modelId="{C767D3FB-F6D9-4760-ABA0-6BB3916B4BA5}" type="sibTrans" cxnId="{40BC842E-E4AE-4903-80B6-AFBF8D724161}">
      <dgm:prSet/>
      <dgm:spPr/>
      <dgm:t>
        <a:bodyPr/>
        <a:lstStyle/>
        <a:p>
          <a:endParaRPr lang="de-DE"/>
        </a:p>
      </dgm:t>
    </dgm:pt>
    <dgm:pt modelId="{3B5C7E1A-5C60-40D4-BF51-D9770E4872A4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A4210927-DBFA-4946-AA51-7213DDBF72CE}" type="parTrans" cxnId="{EFC52D26-03E6-45F4-9CD2-4027E8F00BB0}">
      <dgm:prSet/>
      <dgm:spPr/>
      <dgm:t>
        <a:bodyPr/>
        <a:lstStyle/>
        <a:p>
          <a:endParaRPr lang="de-DE"/>
        </a:p>
      </dgm:t>
    </dgm:pt>
    <dgm:pt modelId="{D9782C66-A0DA-464F-8280-78A310707C01}" type="sibTrans" cxnId="{EFC52D26-03E6-45F4-9CD2-4027E8F00BB0}">
      <dgm:prSet/>
      <dgm:spPr/>
      <dgm:t>
        <a:bodyPr/>
        <a:lstStyle/>
        <a:p>
          <a:endParaRPr lang="de-DE"/>
        </a:p>
      </dgm:t>
    </dgm:pt>
    <dgm:pt modelId="{8A0568B5-46CD-4CDF-B0BB-CE7E9C113AD7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BF342A1C-6149-4314-9CDB-CDEEEB049314}" type="parTrans" cxnId="{2D9D3C9C-BA33-4B05-AF3F-B38F8975DF6B}">
      <dgm:prSet/>
      <dgm:spPr/>
      <dgm:t>
        <a:bodyPr/>
        <a:lstStyle/>
        <a:p>
          <a:endParaRPr lang="de-DE"/>
        </a:p>
      </dgm:t>
    </dgm:pt>
    <dgm:pt modelId="{58283866-1B85-4CF7-80A0-776CB535B85E}" type="sibTrans" cxnId="{2D9D3C9C-BA33-4B05-AF3F-B38F8975DF6B}">
      <dgm:prSet/>
      <dgm:spPr/>
      <dgm:t>
        <a:bodyPr/>
        <a:lstStyle/>
        <a:p>
          <a:endParaRPr lang="de-DE"/>
        </a:p>
      </dgm:t>
    </dgm:pt>
    <dgm:pt modelId="{5C47D26A-0343-43C2-9A55-C28F6DA276A3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81E6D77D-0805-4FC5-943C-D07FA7C9D673}" type="parTrans" cxnId="{F248A320-90E2-4D87-B4ED-8E8BBAE56AB3}">
      <dgm:prSet/>
      <dgm:spPr/>
      <dgm:t>
        <a:bodyPr/>
        <a:lstStyle/>
        <a:p>
          <a:endParaRPr lang="de-DE"/>
        </a:p>
      </dgm:t>
    </dgm:pt>
    <dgm:pt modelId="{FD4952D9-90A9-4318-BD48-99160EFC9733}" type="sibTrans" cxnId="{F248A320-90E2-4D87-B4ED-8E8BBAE56AB3}">
      <dgm:prSet/>
      <dgm:spPr/>
      <dgm:t>
        <a:bodyPr/>
        <a:lstStyle/>
        <a:p>
          <a:endParaRPr lang="de-DE"/>
        </a:p>
      </dgm:t>
    </dgm:pt>
    <dgm:pt modelId="{F7027F70-D586-4157-8F62-8F0DC1139918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4F110685-2E6F-40AC-9E36-61679D0FA509}" type="parTrans" cxnId="{9F79F4BC-E966-4DD7-8651-747B65644B02}">
      <dgm:prSet/>
      <dgm:spPr/>
      <dgm:t>
        <a:bodyPr/>
        <a:lstStyle/>
        <a:p>
          <a:endParaRPr lang="de-DE"/>
        </a:p>
      </dgm:t>
    </dgm:pt>
    <dgm:pt modelId="{34B2FA83-DDCC-4DB0-8204-B3144430C392}" type="sibTrans" cxnId="{9F79F4BC-E966-4DD7-8651-747B65644B02}">
      <dgm:prSet/>
      <dgm:spPr/>
      <dgm:t>
        <a:bodyPr/>
        <a:lstStyle/>
        <a:p>
          <a:endParaRPr lang="de-DE"/>
        </a:p>
      </dgm:t>
    </dgm:pt>
    <dgm:pt modelId="{B2083AA6-3666-4057-BEBE-35FB8FB99D3A}">
      <dgm:prSet phldrT="[Text]" custT="1"/>
      <dgm:spPr>
        <a:solidFill>
          <a:schemeClr val="tx2">
            <a:lumMod val="60000"/>
            <a:lumOff val="40000"/>
          </a:schemeClr>
        </a:solidFill>
        <a:ln>
          <a:noFill/>
        </a:ln>
      </dgm:spPr>
      <dgm:t>
        <a:bodyPr lIns="36000" tIns="36000" rIns="36000" bIns="36000"/>
        <a:lstStyle/>
        <a:p>
          <a:r>
            <a:rPr lang="de-DE" sz="1300" b="1" dirty="0" smtClean="0">
              <a:latin typeface="Arial" panose="020B0604020202020204" pitchFamily="34" charset="0"/>
              <a:cs typeface="Arial" panose="020B0604020202020204" pitchFamily="34" charset="0"/>
            </a:rPr>
            <a:t>Text</a:t>
          </a:r>
          <a:endParaRPr lang="de-DE" sz="1300" b="0" dirty="0"/>
        </a:p>
      </dgm:t>
    </dgm:pt>
    <dgm:pt modelId="{338CCEBA-E23E-4173-BADA-DFB8AD9DDA51}" type="parTrans" cxnId="{F26AFB62-00DC-491E-B863-CB4D13B596F5}">
      <dgm:prSet/>
      <dgm:spPr/>
      <dgm:t>
        <a:bodyPr/>
        <a:lstStyle/>
        <a:p>
          <a:endParaRPr lang="de-DE"/>
        </a:p>
      </dgm:t>
    </dgm:pt>
    <dgm:pt modelId="{42DA0234-FF9E-4238-9568-B1943C1EC401}" type="sibTrans" cxnId="{F26AFB62-00DC-491E-B863-CB4D13B596F5}">
      <dgm:prSet/>
      <dgm:spPr/>
      <dgm:t>
        <a:bodyPr/>
        <a:lstStyle/>
        <a:p>
          <a:endParaRPr lang="de-DE"/>
        </a:p>
      </dgm:t>
    </dgm:pt>
    <dgm:pt modelId="{4F3DE4D1-8421-42F0-B80D-BF6CB728E53D}" type="pres">
      <dgm:prSet presAssocID="{434F8C5E-7AC2-43EE-B9EB-0D473395C1B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F27EAA50-09C8-400B-99DF-F97775395F5F}" type="pres">
      <dgm:prSet presAssocID="{DFB52242-C45C-4F8B-BC21-A9617C559EC3}" presName="hierRoot1" presStyleCnt="0">
        <dgm:presLayoutVars>
          <dgm:hierBranch val="init"/>
        </dgm:presLayoutVars>
      </dgm:prSet>
      <dgm:spPr/>
    </dgm:pt>
    <dgm:pt modelId="{A55F1778-6E35-4605-8AA0-056567A12334}" type="pres">
      <dgm:prSet presAssocID="{DFB52242-C45C-4F8B-BC21-A9617C559EC3}" presName="rootComposite1" presStyleCnt="0"/>
      <dgm:spPr/>
    </dgm:pt>
    <dgm:pt modelId="{4D567D70-376E-425E-86FE-59C9A15310C9}" type="pres">
      <dgm:prSet presAssocID="{DFB52242-C45C-4F8B-BC21-A9617C559EC3}" presName="rootText1" presStyleLbl="node0" presStyleIdx="0" presStyleCnt="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63E5DABB-B740-4D1F-AD72-CAEB1701B813}" type="pres">
      <dgm:prSet presAssocID="{DFB52242-C45C-4F8B-BC21-A9617C559EC3}" presName="rootConnector1" presStyleLbl="node1" presStyleIdx="0" presStyleCnt="0"/>
      <dgm:spPr/>
      <dgm:t>
        <a:bodyPr/>
        <a:lstStyle/>
        <a:p>
          <a:endParaRPr lang="de-DE"/>
        </a:p>
      </dgm:t>
    </dgm:pt>
    <dgm:pt modelId="{BFE010E1-2527-44B3-AE90-8DFF50F33924}" type="pres">
      <dgm:prSet presAssocID="{DFB52242-C45C-4F8B-BC21-A9617C559EC3}" presName="hierChild2" presStyleCnt="0"/>
      <dgm:spPr/>
    </dgm:pt>
    <dgm:pt modelId="{13F70BAC-9D8E-4C0F-A3A4-241A5B695124}" type="pres">
      <dgm:prSet presAssocID="{0DBC8291-3A5C-47D9-A81F-F6EEFDC5E312}" presName="Name64" presStyleLbl="parChTrans1D2" presStyleIdx="0" presStyleCnt="6"/>
      <dgm:spPr/>
      <dgm:t>
        <a:bodyPr/>
        <a:lstStyle/>
        <a:p>
          <a:endParaRPr lang="de-DE"/>
        </a:p>
      </dgm:t>
    </dgm:pt>
    <dgm:pt modelId="{C795E154-89CD-433B-AA84-60B697B68492}" type="pres">
      <dgm:prSet presAssocID="{33E66B64-6E74-44DE-876E-1FA911254E01}" presName="hierRoot2" presStyleCnt="0">
        <dgm:presLayoutVars>
          <dgm:hierBranch val="init"/>
        </dgm:presLayoutVars>
      </dgm:prSet>
      <dgm:spPr/>
    </dgm:pt>
    <dgm:pt modelId="{AB630E6F-790D-455C-B6A0-2FBBCF03B993}" type="pres">
      <dgm:prSet presAssocID="{33E66B64-6E74-44DE-876E-1FA911254E01}" presName="rootComposite" presStyleCnt="0"/>
      <dgm:spPr/>
    </dgm:pt>
    <dgm:pt modelId="{C5429B2A-C1E1-4A10-8286-4C7399F386C9}" type="pres">
      <dgm:prSet presAssocID="{33E66B64-6E74-44DE-876E-1FA911254E01}" presName="rootText" presStyleLbl="node2" presStyleIdx="0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A256669D-3A94-404A-BB00-FC5A1AA60104}" type="pres">
      <dgm:prSet presAssocID="{33E66B64-6E74-44DE-876E-1FA911254E01}" presName="rootConnector" presStyleLbl="node2" presStyleIdx="0" presStyleCnt="6"/>
      <dgm:spPr/>
      <dgm:t>
        <a:bodyPr/>
        <a:lstStyle/>
        <a:p>
          <a:endParaRPr lang="de-DE"/>
        </a:p>
      </dgm:t>
    </dgm:pt>
    <dgm:pt modelId="{C32AFD3A-AA56-4D16-80E3-EA79AD6DD0E9}" type="pres">
      <dgm:prSet presAssocID="{33E66B64-6E74-44DE-876E-1FA911254E01}" presName="hierChild4" presStyleCnt="0"/>
      <dgm:spPr/>
    </dgm:pt>
    <dgm:pt modelId="{4E9D03BB-6E93-4887-9C2A-F56718F32D0A}" type="pres">
      <dgm:prSet presAssocID="{6BC40865-0725-44DD-A2E4-79F7DBF8AE2B}" presName="Name64" presStyleLbl="parChTrans1D3" presStyleIdx="0" presStyleCnt="6"/>
      <dgm:spPr/>
      <dgm:t>
        <a:bodyPr/>
        <a:lstStyle/>
        <a:p>
          <a:endParaRPr lang="de-DE"/>
        </a:p>
      </dgm:t>
    </dgm:pt>
    <dgm:pt modelId="{B9CF1C5F-1B13-4078-8BEA-864A1970D6D6}" type="pres">
      <dgm:prSet presAssocID="{C33F1A44-8DAA-4D90-8C0C-8119608E357B}" presName="hierRoot2" presStyleCnt="0">
        <dgm:presLayoutVars>
          <dgm:hierBranch val="init"/>
        </dgm:presLayoutVars>
      </dgm:prSet>
      <dgm:spPr/>
    </dgm:pt>
    <dgm:pt modelId="{9AEBDC23-52A6-4A86-8711-E339F769FF4D}" type="pres">
      <dgm:prSet presAssocID="{C33F1A44-8DAA-4D90-8C0C-8119608E357B}" presName="rootComposite" presStyleCnt="0"/>
      <dgm:spPr/>
    </dgm:pt>
    <dgm:pt modelId="{479074D2-2E8D-46A0-A5DB-36AF571CBF4E}" type="pres">
      <dgm:prSet presAssocID="{C33F1A44-8DAA-4D90-8C0C-8119608E357B}" presName="rootText" presStyleLbl="node3" presStyleIdx="0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4C096135-0294-42AF-8021-5300F8879FA6}" type="pres">
      <dgm:prSet presAssocID="{C33F1A44-8DAA-4D90-8C0C-8119608E357B}" presName="rootConnector" presStyleLbl="node3" presStyleIdx="0" presStyleCnt="6"/>
      <dgm:spPr/>
      <dgm:t>
        <a:bodyPr/>
        <a:lstStyle/>
        <a:p>
          <a:endParaRPr lang="de-DE"/>
        </a:p>
      </dgm:t>
    </dgm:pt>
    <dgm:pt modelId="{CBCAD83C-0433-4A74-9AAF-DBD59D1B3E7C}" type="pres">
      <dgm:prSet presAssocID="{C33F1A44-8DAA-4D90-8C0C-8119608E357B}" presName="hierChild4" presStyleCnt="0"/>
      <dgm:spPr/>
    </dgm:pt>
    <dgm:pt modelId="{B858BB80-1CDE-441E-ADD8-A125A84E6CD2}" type="pres">
      <dgm:prSet presAssocID="{C33F1A44-8DAA-4D90-8C0C-8119608E357B}" presName="hierChild5" presStyleCnt="0"/>
      <dgm:spPr/>
    </dgm:pt>
    <dgm:pt modelId="{4C1A620C-22BB-4B04-B66F-E5FC04497B68}" type="pres">
      <dgm:prSet presAssocID="{33E66B64-6E74-44DE-876E-1FA911254E01}" presName="hierChild5" presStyleCnt="0"/>
      <dgm:spPr/>
    </dgm:pt>
    <dgm:pt modelId="{5265AC08-B220-473A-8818-5561E4BC3691}" type="pres">
      <dgm:prSet presAssocID="{12611D15-F917-47C7-8B37-BBA3E615FBB1}" presName="Name64" presStyleLbl="parChTrans1D2" presStyleIdx="1" presStyleCnt="6"/>
      <dgm:spPr/>
      <dgm:t>
        <a:bodyPr/>
        <a:lstStyle/>
        <a:p>
          <a:endParaRPr lang="de-DE"/>
        </a:p>
      </dgm:t>
    </dgm:pt>
    <dgm:pt modelId="{D6EA5903-A57E-4934-A66B-799C0A357610}" type="pres">
      <dgm:prSet presAssocID="{7EE2D50C-EFBC-449F-96DF-CC9AF1BAE878}" presName="hierRoot2" presStyleCnt="0">
        <dgm:presLayoutVars>
          <dgm:hierBranch val="init"/>
        </dgm:presLayoutVars>
      </dgm:prSet>
      <dgm:spPr/>
    </dgm:pt>
    <dgm:pt modelId="{E2A5720F-BC29-4387-BD62-06F80F34169D}" type="pres">
      <dgm:prSet presAssocID="{7EE2D50C-EFBC-449F-96DF-CC9AF1BAE878}" presName="rootComposite" presStyleCnt="0"/>
      <dgm:spPr/>
    </dgm:pt>
    <dgm:pt modelId="{49DF7171-3E30-487C-A75C-C55800576469}" type="pres">
      <dgm:prSet presAssocID="{7EE2D50C-EFBC-449F-96DF-CC9AF1BAE878}" presName="rootText" presStyleLbl="node2" presStyleIdx="1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7FC67E00-AC2D-4625-A51A-7A317C44BE05}" type="pres">
      <dgm:prSet presAssocID="{7EE2D50C-EFBC-449F-96DF-CC9AF1BAE878}" presName="rootConnector" presStyleLbl="node2" presStyleIdx="1" presStyleCnt="6"/>
      <dgm:spPr/>
      <dgm:t>
        <a:bodyPr/>
        <a:lstStyle/>
        <a:p>
          <a:endParaRPr lang="de-DE"/>
        </a:p>
      </dgm:t>
    </dgm:pt>
    <dgm:pt modelId="{9661F8E1-DCA7-4E1F-9A9C-76C1E68A0031}" type="pres">
      <dgm:prSet presAssocID="{7EE2D50C-EFBC-449F-96DF-CC9AF1BAE878}" presName="hierChild4" presStyleCnt="0"/>
      <dgm:spPr/>
    </dgm:pt>
    <dgm:pt modelId="{931D64A1-CEA9-4993-85B4-B11903A2FBD6}" type="pres">
      <dgm:prSet presAssocID="{A4210927-DBFA-4946-AA51-7213DDBF72CE}" presName="Name64" presStyleLbl="parChTrans1D3" presStyleIdx="1" presStyleCnt="6"/>
      <dgm:spPr/>
      <dgm:t>
        <a:bodyPr/>
        <a:lstStyle/>
        <a:p>
          <a:endParaRPr lang="de-DE"/>
        </a:p>
      </dgm:t>
    </dgm:pt>
    <dgm:pt modelId="{A1951A23-1274-408E-B3F4-B700CB03CD29}" type="pres">
      <dgm:prSet presAssocID="{3B5C7E1A-5C60-40D4-BF51-D9770E4872A4}" presName="hierRoot2" presStyleCnt="0">
        <dgm:presLayoutVars>
          <dgm:hierBranch val="init"/>
        </dgm:presLayoutVars>
      </dgm:prSet>
      <dgm:spPr/>
    </dgm:pt>
    <dgm:pt modelId="{277E3B3C-3E14-420F-8591-9CDBAC5F1C4E}" type="pres">
      <dgm:prSet presAssocID="{3B5C7E1A-5C60-40D4-BF51-D9770E4872A4}" presName="rootComposite" presStyleCnt="0"/>
      <dgm:spPr/>
    </dgm:pt>
    <dgm:pt modelId="{40EC5E57-3064-4B9F-8FF0-1D2306972077}" type="pres">
      <dgm:prSet presAssocID="{3B5C7E1A-5C60-40D4-BF51-D9770E4872A4}" presName="rootText" presStyleLbl="node3" presStyleIdx="1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86B53D31-FDC4-43C6-825D-C3C00711DEBC}" type="pres">
      <dgm:prSet presAssocID="{3B5C7E1A-5C60-40D4-BF51-D9770E4872A4}" presName="rootConnector" presStyleLbl="node3" presStyleIdx="1" presStyleCnt="6"/>
      <dgm:spPr/>
      <dgm:t>
        <a:bodyPr/>
        <a:lstStyle/>
        <a:p>
          <a:endParaRPr lang="de-DE"/>
        </a:p>
      </dgm:t>
    </dgm:pt>
    <dgm:pt modelId="{D8F123A6-2C78-444A-9366-FB549F2E1D7B}" type="pres">
      <dgm:prSet presAssocID="{3B5C7E1A-5C60-40D4-BF51-D9770E4872A4}" presName="hierChild4" presStyleCnt="0"/>
      <dgm:spPr/>
    </dgm:pt>
    <dgm:pt modelId="{8A53AF87-2E92-4D28-AAC0-16309AE9DC0F}" type="pres">
      <dgm:prSet presAssocID="{3B5C7E1A-5C60-40D4-BF51-D9770E4872A4}" presName="hierChild5" presStyleCnt="0"/>
      <dgm:spPr/>
    </dgm:pt>
    <dgm:pt modelId="{DED698D6-7C07-4CD0-A71E-83B26EC4D5F4}" type="pres">
      <dgm:prSet presAssocID="{7EE2D50C-EFBC-449F-96DF-CC9AF1BAE878}" presName="hierChild5" presStyleCnt="0"/>
      <dgm:spPr/>
    </dgm:pt>
    <dgm:pt modelId="{7B813F50-19D5-4392-BE5E-35764BC070EC}" type="pres">
      <dgm:prSet presAssocID="{E88B7E5F-710F-416F-90D5-6B28E2DE0DA6}" presName="Name64" presStyleLbl="parChTrans1D2" presStyleIdx="2" presStyleCnt="6"/>
      <dgm:spPr/>
      <dgm:t>
        <a:bodyPr/>
        <a:lstStyle/>
        <a:p>
          <a:endParaRPr lang="de-DE"/>
        </a:p>
      </dgm:t>
    </dgm:pt>
    <dgm:pt modelId="{15BE1F89-62B0-4ADE-9D82-DE2ABBEDF8B8}" type="pres">
      <dgm:prSet presAssocID="{0AC6C2A4-6BED-48FC-8894-ED24E24D33E1}" presName="hierRoot2" presStyleCnt="0">
        <dgm:presLayoutVars>
          <dgm:hierBranch val="init"/>
        </dgm:presLayoutVars>
      </dgm:prSet>
      <dgm:spPr/>
    </dgm:pt>
    <dgm:pt modelId="{DBBBB15E-C351-49E5-A51E-A4BC2496EE21}" type="pres">
      <dgm:prSet presAssocID="{0AC6C2A4-6BED-48FC-8894-ED24E24D33E1}" presName="rootComposite" presStyleCnt="0"/>
      <dgm:spPr/>
    </dgm:pt>
    <dgm:pt modelId="{50857F8E-5BDB-4726-A4E2-24531D46E96C}" type="pres">
      <dgm:prSet presAssocID="{0AC6C2A4-6BED-48FC-8894-ED24E24D33E1}" presName="rootText" presStyleLbl="node2" presStyleIdx="2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3E7670FE-62EB-44A3-8F78-F813E06A69BB}" type="pres">
      <dgm:prSet presAssocID="{0AC6C2A4-6BED-48FC-8894-ED24E24D33E1}" presName="rootConnector" presStyleLbl="node2" presStyleIdx="2" presStyleCnt="6"/>
      <dgm:spPr/>
      <dgm:t>
        <a:bodyPr/>
        <a:lstStyle/>
        <a:p>
          <a:endParaRPr lang="de-DE"/>
        </a:p>
      </dgm:t>
    </dgm:pt>
    <dgm:pt modelId="{08D2E9D5-8B93-4AFB-9B6E-878B7B97CBB0}" type="pres">
      <dgm:prSet presAssocID="{0AC6C2A4-6BED-48FC-8894-ED24E24D33E1}" presName="hierChild4" presStyleCnt="0"/>
      <dgm:spPr/>
    </dgm:pt>
    <dgm:pt modelId="{DE10FD8A-EAF7-4100-A695-9FEC5A595EDF}" type="pres">
      <dgm:prSet presAssocID="{BF342A1C-6149-4314-9CDB-CDEEEB049314}" presName="Name64" presStyleLbl="parChTrans1D3" presStyleIdx="2" presStyleCnt="6"/>
      <dgm:spPr/>
      <dgm:t>
        <a:bodyPr/>
        <a:lstStyle/>
        <a:p>
          <a:endParaRPr lang="de-DE"/>
        </a:p>
      </dgm:t>
    </dgm:pt>
    <dgm:pt modelId="{2B588BD6-CBB9-473D-8A34-EF6EB9F0F3C0}" type="pres">
      <dgm:prSet presAssocID="{8A0568B5-46CD-4CDF-B0BB-CE7E9C113AD7}" presName="hierRoot2" presStyleCnt="0">
        <dgm:presLayoutVars>
          <dgm:hierBranch val="init"/>
        </dgm:presLayoutVars>
      </dgm:prSet>
      <dgm:spPr/>
    </dgm:pt>
    <dgm:pt modelId="{5A3403AE-0A24-4A5A-9FA8-6B48F85BD794}" type="pres">
      <dgm:prSet presAssocID="{8A0568B5-46CD-4CDF-B0BB-CE7E9C113AD7}" presName="rootComposite" presStyleCnt="0"/>
      <dgm:spPr/>
    </dgm:pt>
    <dgm:pt modelId="{F06A3746-9291-420E-8C05-7019A2D9FE99}" type="pres">
      <dgm:prSet presAssocID="{8A0568B5-46CD-4CDF-B0BB-CE7E9C113AD7}" presName="rootText" presStyleLbl="node3" presStyleIdx="2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FCD20844-1CE7-4360-B387-2642B268A27F}" type="pres">
      <dgm:prSet presAssocID="{8A0568B5-46CD-4CDF-B0BB-CE7E9C113AD7}" presName="rootConnector" presStyleLbl="node3" presStyleIdx="2" presStyleCnt="6"/>
      <dgm:spPr/>
      <dgm:t>
        <a:bodyPr/>
        <a:lstStyle/>
        <a:p>
          <a:endParaRPr lang="de-DE"/>
        </a:p>
      </dgm:t>
    </dgm:pt>
    <dgm:pt modelId="{DE7951E4-F86B-48ED-A39A-5E7A23FDD8B9}" type="pres">
      <dgm:prSet presAssocID="{8A0568B5-46CD-4CDF-B0BB-CE7E9C113AD7}" presName="hierChild4" presStyleCnt="0"/>
      <dgm:spPr/>
    </dgm:pt>
    <dgm:pt modelId="{0F40DD15-5E61-4E4D-808F-0C7B20DF71FA}" type="pres">
      <dgm:prSet presAssocID="{8A0568B5-46CD-4CDF-B0BB-CE7E9C113AD7}" presName="hierChild5" presStyleCnt="0"/>
      <dgm:spPr/>
    </dgm:pt>
    <dgm:pt modelId="{23F8F901-5C02-407F-832F-A5DD93FCA993}" type="pres">
      <dgm:prSet presAssocID="{0AC6C2A4-6BED-48FC-8894-ED24E24D33E1}" presName="hierChild5" presStyleCnt="0"/>
      <dgm:spPr/>
    </dgm:pt>
    <dgm:pt modelId="{EF5FDC56-33D7-4666-8A4C-E9A2B959ACE6}" type="pres">
      <dgm:prSet presAssocID="{D83A70C6-450B-4F71-8BDB-A7200F66657F}" presName="Name64" presStyleLbl="parChTrans1D2" presStyleIdx="3" presStyleCnt="6"/>
      <dgm:spPr/>
      <dgm:t>
        <a:bodyPr/>
        <a:lstStyle/>
        <a:p>
          <a:endParaRPr lang="de-DE"/>
        </a:p>
      </dgm:t>
    </dgm:pt>
    <dgm:pt modelId="{71066C1A-A897-41D2-BD14-52F26B77BE74}" type="pres">
      <dgm:prSet presAssocID="{05A548B1-80FA-40BF-BEDE-4060D5C1BF60}" presName="hierRoot2" presStyleCnt="0">
        <dgm:presLayoutVars>
          <dgm:hierBranch val="init"/>
        </dgm:presLayoutVars>
      </dgm:prSet>
      <dgm:spPr/>
    </dgm:pt>
    <dgm:pt modelId="{96FEDDDB-7A79-44C3-9015-401FB391B9DA}" type="pres">
      <dgm:prSet presAssocID="{05A548B1-80FA-40BF-BEDE-4060D5C1BF60}" presName="rootComposite" presStyleCnt="0"/>
      <dgm:spPr/>
    </dgm:pt>
    <dgm:pt modelId="{D7765471-FD76-4C2B-B74F-410664794211}" type="pres">
      <dgm:prSet presAssocID="{05A548B1-80FA-40BF-BEDE-4060D5C1BF60}" presName="rootText" presStyleLbl="node2" presStyleIdx="3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79115C51-8D2E-4F0D-B870-71E9FAA96232}" type="pres">
      <dgm:prSet presAssocID="{05A548B1-80FA-40BF-BEDE-4060D5C1BF60}" presName="rootConnector" presStyleLbl="node2" presStyleIdx="3" presStyleCnt="6"/>
      <dgm:spPr/>
      <dgm:t>
        <a:bodyPr/>
        <a:lstStyle/>
        <a:p>
          <a:endParaRPr lang="de-DE"/>
        </a:p>
      </dgm:t>
    </dgm:pt>
    <dgm:pt modelId="{A26DA9B8-9E4E-4C5C-9BE5-7E21612B87BA}" type="pres">
      <dgm:prSet presAssocID="{05A548B1-80FA-40BF-BEDE-4060D5C1BF60}" presName="hierChild4" presStyleCnt="0"/>
      <dgm:spPr/>
    </dgm:pt>
    <dgm:pt modelId="{4D26E2DE-FF25-4D4F-93C6-8ED58F5CD5F8}" type="pres">
      <dgm:prSet presAssocID="{81E6D77D-0805-4FC5-943C-D07FA7C9D673}" presName="Name64" presStyleLbl="parChTrans1D3" presStyleIdx="3" presStyleCnt="6"/>
      <dgm:spPr/>
      <dgm:t>
        <a:bodyPr/>
        <a:lstStyle/>
        <a:p>
          <a:endParaRPr lang="de-DE"/>
        </a:p>
      </dgm:t>
    </dgm:pt>
    <dgm:pt modelId="{B49B8102-125F-48A2-B513-4EA2B1BEF39E}" type="pres">
      <dgm:prSet presAssocID="{5C47D26A-0343-43C2-9A55-C28F6DA276A3}" presName="hierRoot2" presStyleCnt="0">
        <dgm:presLayoutVars>
          <dgm:hierBranch val="init"/>
        </dgm:presLayoutVars>
      </dgm:prSet>
      <dgm:spPr/>
    </dgm:pt>
    <dgm:pt modelId="{99D2C93B-D540-4C00-8683-E2BC360E4AC8}" type="pres">
      <dgm:prSet presAssocID="{5C47D26A-0343-43C2-9A55-C28F6DA276A3}" presName="rootComposite" presStyleCnt="0"/>
      <dgm:spPr/>
    </dgm:pt>
    <dgm:pt modelId="{71FCC228-40E5-41DF-AF3F-092197794A0D}" type="pres">
      <dgm:prSet presAssocID="{5C47D26A-0343-43C2-9A55-C28F6DA276A3}" presName="rootText" presStyleLbl="node3" presStyleIdx="3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8F7B3EBB-E1B3-4443-A945-A4E67EB0BFCC}" type="pres">
      <dgm:prSet presAssocID="{5C47D26A-0343-43C2-9A55-C28F6DA276A3}" presName="rootConnector" presStyleLbl="node3" presStyleIdx="3" presStyleCnt="6"/>
      <dgm:spPr/>
      <dgm:t>
        <a:bodyPr/>
        <a:lstStyle/>
        <a:p>
          <a:endParaRPr lang="de-DE"/>
        </a:p>
      </dgm:t>
    </dgm:pt>
    <dgm:pt modelId="{22D325B4-2385-4068-A806-1D498F518B8F}" type="pres">
      <dgm:prSet presAssocID="{5C47D26A-0343-43C2-9A55-C28F6DA276A3}" presName="hierChild4" presStyleCnt="0"/>
      <dgm:spPr/>
    </dgm:pt>
    <dgm:pt modelId="{AC9D05EC-BF8C-4D99-9CB5-99CA471413EE}" type="pres">
      <dgm:prSet presAssocID="{5C47D26A-0343-43C2-9A55-C28F6DA276A3}" presName="hierChild5" presStyleCnt="0"/>
      <dgm:spPr/>
    </dgm:pt>
    <dgm:pt modelId="{FFCF2F89-EBAC-490A-8CB7-898E1D7FE9D5}" type="pres">
      <dgm:prSet presAssocID="{05A548B1-80FA-40BF-BEDE-4060D5C1BF60}" presName="hierChild5" presStyleCnt="0"/>
      <dgm:spPr/>
    </dgm:pt>
    <dgm:pt modelId="{37CA0174-2C1E-49A3-A783-90B37A29C29B}" type="pres">
      <dgm:prSet presAssocID="{97CAC142-BB2B-4F4A-AE6C-932A2B3337FA}" presName="Name64" presStyleLbl="parChTrans1D2" presStyleIdx="4" presStyleCnt="6"/>
      <dgm:spPr/>
      <dgm:t>
        <a:bodyPr/>
        <a:lstStyle/>
        <a:p>
          <a:endParaRPr lang="de-DE"/>
        </a:p>
      </dgm:t>
    </dgm:pt>
    <dgm:pt modelId="{F965AAEB-59B9-4B78-ACE1-C3CF653E8931}" type="pres">
      <dgm:prSet presAssocID="{F8F62D1D-6565-4E47-A767-CEB4D952A0E3}" presName="hierRoot2" presStyleCnt="0">
        <dgm:presLayoutVars>
          <dgm:hierBranch val="init"/>
        </dgm:presLayoutVars>
      </dgm:prSet>
      <dgm:spPr/>
    </dgm:pt>
    <dgm:pt modelId="{6A144D4C-2C52-4AC3-AE76-5929C547DF9E}" type="pres">
      <dgm:prSet presAssocID="{F8F62D1D-6565-4E47-A767-CEB4D952A0E3}" presName="rootComposite" presStyleCnt="0"/>
      <dgm:spPr/>
    </dgm:pt>
    <dgm:pt modelId="{3666039A-A3C6-40B7-8B48-E7D5A88C8F17}" type="pres">
      <dgm:prSet presAssocID="{F8F62D1D-6565-4E47-A767-CEB4D952A0E3}" presName="rootText" presStyleLbl="node2" presStyleIdx="4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570E8F86-1777-4CAA-8362-608D17B8F468}" type="pres">
      <dgm:prSet presAssocID="{F8F62D1D-6565-4E47-A767-CEB4D952A0E3}" presName="rootConnector" presStyleLbl="node2" presStyleIdx="4" presStyleCnt="6"/>
      <dgm:spPr/>
      <dgm:t>
        <a:bodyPr/>
        <a:lstStyle/>
        <a:p>
          <a:endParaRPr lang="de-DE"/>
        </a:p>
      </dgm:t>
    </dgm:pt>
    <dgm:pt modelId="{0E9BA883-EFF1-4830-8266-BB9110B108A2}" type="pres">
      <dgm:prSet presAssocID="{F8F62D1D-6565-4E47-A767-CEB4D952A0E3}" presName="hierChild4" presStyleCnt="0"/>
      <dgm:spPr/>
    </dgm:pt>
    <dgm:pt modelId="{D922465D-6F25-4719-A60F-CA9749283D71}" type="pres">
      <dgm:prSet presAssocID="{4F110685-2E6F-40AC-9E36-61679D0FA509}" presName="Name64" presStyleLbl="parChTrans1D3" presStyleIdx="4" presStyleCnt="6"/>
      <dgm:spPr/>
      <dgm:t>
        <a:bodyPr/>
        <a:lstStyle/>
        <a:p>
          <a:endParaRPr lang="de-DE"/>
        </a:p>
      </dgm:t>
    </dgm:pt>
    <dgm:pt modelId="{436F7A3F-2B35-4BE0-961B-05113485B90D}" type="pres">
      <dgm:prSet presAssocID="{F7027F70-D586-4157-8F62-8F0DC1139918}" presName="hierRoot2" presStyleCnt="0">
        <dgm:presLayoutVars>
          <dgm:hierBranch val="init"/>
        </dgm:presLayoutVars>
      </dgm:prSet>
      <dgm:spPr/>
    </dgm:pt>
    <dgm:pt modelId="{9A49D615-9C66-4B20-A276-55684369E8F7}" type="pres">
      <dgm:prSet presAssocID="{F7027F70-D586-4157-8F62-8F0DC1139918}" presName="rootComposite" presStyleCnt="0"/>
      <dgm:spPr/>
    </dgm:pt>
    <dgm:pt modelId="{572AE0B1-045B-4241-AE67-EAE827773192}" type="pres">
      <dgm:prSet presAssocID="{F7027F70-D586-4157-8F62-8F0DC1139918}" presName="rootText" presStyleLbl="node3" presStyleIdx="4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EACB6C1B-FEE8-4C51-A009-303F4502C28D}" type="pres">
      <dgm:prSet presAssocID="{F7027F70-D586-4157-8F62-8F0DC1139918}" presName="rootConnector" presStyleLbl="node3" presStyleIdx="4" presStyleCnt="6"/>
      <dgm:spPr/>
      <dgm:t>
        <a:bodyPr/>
        <a:lstStyle/>
        <a:p>
          <a:endParaRPr lang="de-DE"/>
        </a:p>
      </dgm:t>
    </dgm:pt>
    <dgm:pt modelId="{1F687E64-61EE-4166-90B4-12B71BBF31B7}" type="pres">
      <dgm:prSet presAssocID="{F7027F70-D586-4157-8F62-8F0DC1139918}" presName="hierChild4" presStyleCnt="0"/>
      <dgm:spPr/>
    </dgm:pt>
    <dgm:pt modelId="{0B40AEB8-F56F-43F2-96A3-2A95E7622E85}" type="pres">
      <dgm:prSet presAssocID="{F7027F70-D586-4157-8F62-8F0DC1139918}" presName="hierChild5" presStyleCnt="0"/>
      <dgm:spPr/>
    </dgm:pt>
    <dgm:pt modelId="{F9661156-7549-4706-8CBB-E6FBF3E3DAD6}" type="pres">
      <dgm:prSet presAssocID="{F8F62D1D-6565-4E47-A767-CEB4D952A0E3}" presName="hierChild5" presStyleCnt="0"/>
      <dgm:spPr/>
    </dgm:pt>
    <dgm:pt modelId="{6F675A61-416B-4EEA-B09C-EFAD70C3CCDD}" type="pres">
      <dgm:prSet presAssocID="{C64EFC2C-0CA5-4A76-9DBB-81066CF11A8C}" presName="Name64" presStyleLbl="parChTrans1D2" presStyleIdx="5" presStyleCnt="6"/>
      <dgm:spPr/>
      <dgm:t>
        <a:bodyPr/>
        <a:lstStyle/>
        <a:p>
          <a:endParaRPr lang="de-DE"/>
        </a:p>
      </dgm:t>
    </dgm:pt>
    <dgm:pt modelId="{DAE5B677-5EF9-4F11-9CE3-D5768CA81DBC}" type="pres">
      <dgm:prSet presAssocID="{95A636E5-54B3-48BA-A704-0D2C81719527}" presName="hierRoot2" presStyleCnt="0">
        <dgm:presLayoutVars>
          <dgm:hierBranch val="init"/>
        </dgm:presLayoutVars>
      </dgm:prSet>
      <dgm:spPr/>
    </dgm:pt>
    <dgm:pt modelId="{44370FF8-1946-49A9-B934-E881D73B4D40}" type="pres">
      <dgm:prSet presAssocID="{95A636E5-54B3-48BA-A704-0D2C81719527}" presName="rootComposite" presStyleCnt="0"/>
      <dgm:spPr/>
    </dgm:pt>
    <dgm:pt modelId="{9B5C6B3A-F9A5-405F-91AE-4CB5BA6F916F}" type="pres">
      <dgm:prSet presAssocID="{95A636E5-54B3-48BA-A704-0D2C81719527}" presName="rootText" presStyleLbl="node2" presStyleIdx="5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F859B64C-343C-4650-BBA9-19AB48D802FA}" type="pres">
      <dgm:prSet presAssocID="{95A636E5-54B3-48BA-A704-0D2C81719527}" presName="rootConnector" presStyleLbl="node2" presStyleIdx="5" presStyleCnt="6"/>
      <dgm:spPr/>
      <dgm:t>
        <a:bodyPr/>
        <a:lstStyle/>
        <a:p>
          <a:endParaRPr lang="de-DE"/>
        </a:p>
      </dgm:t>
    </dgm:pt>
    <dgm:pt modelId="{85130105-0971-4E66-9FC8-46DBF5544CD9}" type="pres">
      <dgm:prSet presAssocID="{95A636E5-54B3-48BA-A704-0D2C81719527}" presName="hierChild4" presStyleCnt="0"/>
      <dgm:spPr/>
    </dgm:pt>
    <dgm:pt modelId="{F4EC0999-8AEA-4BB1-B38D-2CB2D993F655}" type="pres">
      <dgm:prSet presAssocID="{338CCEBA-E23E-4173-BADA-DFB8AD9DDA51}" presName="Name64" presStyleLbl="parChTrans1D3" presStyleIdx="5" presStyleCnt="6"/>
      <dgm:spPr/>
      <dgm:t>
        <a:bodyPr/>
        <a:lstStyle/>
        <a:p>
          <a:endParaRPr lang="de-DE"/>
        </a:p>
      </dgm:t>
    </dgm:pt>
    <dgm:pt modelId="{A3163143-43BD-474D-97F5-675AA59A81BE}" type="pres">
      <dgm:prSet presAssocID="{B2083AA6-3666-4057-BEBE-35FB8FB99D3A}" presName="hierRoot2" presStyleCnt="0">
        <dgm:presLayoutVars>
          <dgm:hierBranch val="init"/>
        </dgm:presLayoutVars>
      </dgm:prSet>
      <dgm:spPr/>
    </dgm:pt>
    <dgm:pt modelId="{C969ADD0-7C92-4A81-8A11-2E8C0E5B7083}" type="pres">
      <dgm:prSet presAssocID="{B2083AA6-3666-4057-BEBE-35FB8FB99D3A}" presName="rootComposite" presStyleCnt="0"/>
      <dgm:spPr/>
    </dgm:pt>
    <dgm:pt modelId="{159C6CE5-3E79-4362-92A4-4E25FC7BE5D7}" type="pres">
      <dgm:prSet presAssocID="{B2083AA6-3666-4057-BEBE-35FB8FB99D3A}" presName="rootText" presStyleLbl="node3" presStyleIdx="5" presStyleCnt="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30B8A6FA-18B2-406F-A93F-3D3DFFC49BE1}" type="pres">
      <dgm:prSet presAssocID="{B2083AA6-3666-4057-BEBE-35FB8FB99D3A}" presName="rootConnector" presStyleLbl="node3" presStyleIdx="5" presStyleCnt="6"/>
      <dgm:spPr/>
      <dgm:t>
        <a:bodyPr/>
        <a:lstStyle/>
        <a:p>
          <a:endParaRPr lang="de-DE"/>
        </a:p>
      </dgm:t>
    </dgm:pt>
    <dgm:pt modelId="{DBEE788A-8FAB-4AE9-A910-66CC6144A791}" type="pres">
      <dgm:prSet presAssocID="{B2083AA6-3666-4057-BEBE-35FB8FB99D3A}" presName="hierChild4" presStyleCnt="0"/>
      <dgm:spPr/>
    </dgm:pt>
    <dgm:pt modelId="{F0A65A4E-6ACA-4B3E-8866-E43F790959A7}" type="pres">
      <dgm:prSet presAssocID="{B2083AA6-3666-4057-BEBE-35FB8FB99D3A}" presName="hierChild5" presStyleCnt="0"/>
      <dgm:spPr/>
    </dgm:pt>
    <dgm:pt modelId="{E811CD29-2291-4302-8E18-F61699FF193B}" type="pres">
      <dgm:prSet presAssocID="{95A636E5-54B3-48BA-A704-0D2C81719527}" presName="hierChild5" presStyleCnt="0"/>
      <dgm:spPr/>
    </dgm:pt>
    <dgm:pt modelId="{D14BCB05-2ECE-4701-AE5B-8E0EFC61B158}" type="pres">
      <dgm:prSet presAssocID="{DFB52242-C45C-4F8B-BC21-A9617C559EC3}" presName="hierChild3" presStyleCnt="0"/>
      <dgm:spPr/>
    </dgm:pt>
  </dgm:ptLst>
  <dgm:cxnLst>
    <dgm:cxn modelId="{9611A5A2-E68A-4053-9170-0D79DA42A601}" type="presOf" srcId="{7EE2D50C-EFBC-449F-96DF-CC9AF1BAE878}" destId="{7FC67E00-AC2D-4625-A51A-7A317C44BE05}" srcOrd="1" destOrd="0" presId="urn:microsoft.com/office/officeart/2009/3/layout/HorizontalOrganizationChart"/>
    <dgm:cxn modelId="{21686BD4-42FF-44CA-B091-709D91E4B92F}" type="presOf" srcId="{0AC6C2A4-6BED-48FC-8894-ED24E24D33E1}" destId="{50857F8E-5BDB-4726-A4E2-24531D46E96C}" srcOrd="0" destOrd="0" presId="urn:microsoft.com/office/officeart/2009/3/layout/HorizontalOrganizationChart"/>
    <dgm:cxn modelId="{141047EB-BCA8-4414-BCB5-CF7BC86465B0}" type="presOf" srcId="{B2083AA6-3666-4057-BEBE-35FB8FB99D3A}" destId="{30B8A6FA-18B2-406F-A93F-3D3DFFC49BE1}" srcOrd="1" destOrd="0" presId="urn:microsoft.com/office/officeart/2009/3/layout/HorizontalOrganizationChart"/>
    <dgm:cxn modelId="{F26AFB62-00DC-491E-B863-CB4D13B596F5}" srcId="{95A636E5-54B3-48BA-A704-0D2C81719527}" destId="{B2083AA6-3666-4057-BEBE-35FB8FB99D3A}" srcOrd="0" destOrd="0" parTransId="{338CCEBA-E23E-4173-BADA-DFB8AD9DDA51}" sibTransId="{42DA0234-FF9E-4238-9568-B1943C1EC401}"/>
    <dgm:cxn modelId="{95EA334E-96B2-445F-912A-0B48E21603B0}" type="presOf" srcId="{5C47D26A-0343-43C2-9A55-C28F6DA276A3}" destId="{8F7B3EBB-E1B3-4443-A945-A4E67EB0BFCC}" srcOrd="1" destOrd="0" presId="urn:microsoft.com/office/officeart/2009/3/layout/HorizontalOrganizationChart"/>
    <dgm:cxn modelId="{65875CA9-83A5-44FC-8575-C10DC2AE32EC}" type="presOf" srcId="{C64EFC2C-0CA5-4A76-9DBB-81066CF11A8C}" destId="{6F675A61-416B-4EEA-B09C-EFAD70C3CCDD}" srcOrd="0" destOrd="0" presId="urn:microsoft.com/office/officeart/2009/3/layout/HorizontalOrganizationChart"/>
    <dgm:cxn modelId="{6C7696B2-1D79-4251-A252-B328EE374B13}" type="presOf" srcId="{7EE2D50C-EFBC-449F-96DF-CC9AF1BAE878}" destId="{49DF7171-3E30-487C-A75C-C55800576469}" srcOrd="0" destOrd="0" presId="urn:microsoft.com/office/officeart/2009/3/layout/HorizontalOrganizationChart"/>
    <dgm:cxn modelId="{5632F60D-2E31-4FC5-9B90-B0221C2241B9}" type="presOf" srcId="{A4210927-DBFA-4946-AA51-7213DDBF72CE}" destId="{931D64A1-CEA9-4993-85B4-B11903A2FBD6}" srcOrd="0" destOrd="0" presId="urn:microsoft.com/office/officeart/2009/3/layout/HorizontalOrganizationChart"/>
    <dgm:cxn modelId="{2A5925A3-4484-46F1-AF62-88E2DBF9CEF9}" type="presOf" srcId="{12611D15-F917-47C7-8B37-BBA3E615FBB1}" destId="{5265AC08-B220-473A-8818-5561E4BC3691}" srcOrd="0" destOrd="0" presId="urn:microsoft.com/office/officeart/2009/3/layout/HorizontalOrganizationChart"/>
    <dgm:cxn modelId="{099D0682-4856-44E8-BA74-895D98A236A2}" srcId="{DFB52242-C45C-4F8B-BC21-A9617C559EC3}" destId="{05A548B1-80FA-40BF-BEDE-4060D5C1BF60}" srcOrd="3" destOrd="0" parTransId="{D83A70C6-450B-4F71-8BDB-A7200F66657F}" sibTransId="{5599F70C-FFC8-4B2A-B1E3-3756692D0CD3}"/>
    <dgm:cxn modelId="{6988B740-EFE9-4714-94BF-3F71B1A9F304}" type="presOf" srcId="{81E6D77D-0805-4FC5-943C-D07FA7C9D673}" destId="{4D26E2DE-FF25-4D4F-93C6-8ED58F5CD5F8}" srcOrd="0" destOrd="0" presId="urn:microsoft.com/office/officeart/2009/3/layout/HorizontalOrganizationChart"/>
    <dgm:cxn modelId="{6427F5F6-C066-4C5E-8DA0-B008B09ABC72}" type="presOf" srcId="{0DBC8291-3A5C-47D9-A81F-F6EEFDC5E312}" destId="{13F70BAC-9D8E-4C0F-A3A4-241A5B695124}" srcOrd="0" destOrd="0" presId="urn:microsoft.com/office/officeart/2009/3/layout/HorizontalOrganizationChart"/>
    <dgm:cxn modelId="{1236EE49-CF72-4765-BC88-1B2DEF8F1BFE}" type="presOf" srcId="{DFB52242-C45C-4F8B-BC21-A9617C559EC3}" destId="{63E5DABB-B740-4D1F-AD72-CAEB1701B813}" srcOrd="1" destOrd="0" presId="urn:microsoft.com/office/officeart/2009/3/layout/HorizontalOrganizationChart"/>
    <dgm:cxn modelId="{B305471B-6438-432D-934E-54B7CEF665DD}" type="presOf" srcId="{B2083AA6-3666-4057-BEBE-35FB8FB99D3A}" destId="{159C6CE5-3E79-4362-92A4-4E25FC7BE5D7}" srcOrd="0" destOrd="0" presId="urn:microsoft.com/office/officeart/2009/3/layout/HorizontalOrganizationChart"/>
    <dgm:cxn modelId="{E7339849-E3F2-4BD4-9C39-8EC97AD95327}" type="presOf" srcId="{95A636E5-54B3-48BA-A704-0D2C81719527}" destId="{F859B64C-343C-4650-BBA9-19AB48D802FA}" srcOrd="1" destOrd="0" presId="urn:microsoft.com/office/officeart/2009/3/layout/HorizontalOrganizationChart"/>
    <dgm:cxn modelId="{40BC842E-E4AE-4903-80B6-AFBF8D724161}" srcId="{33E66B64-6E74-44DE-876E-1FA911254E01}" destId="{C33F1A44-8DAA-4D90-8C0C-8119608E357B}" srcOrd="0" destOrd="0" parTransId="{6BC40865-0725-44DD-A2E4-79F7DBF8AE2B}" sibTransId="{C767D3FB-F6D9-4760-ABA0-6BB3916B4BA5}"/>
    <dgm:cxn modelId="{D628DB9C-1B22-4997-BAF3-B372B2F38A6B}" type="presOf" srcId="{5C47D26A-0343-43C2-9A55-C28F6DA276A3}" destId="{71FCC228-40E5-41DF-AF3F-092197794A0D}" srcOrd="0" destOrd="0" presId="urn:microsoft.com/office/officeart/2009/3/layout/HorizontalOrganizationChart"/>
    <dgm:cxn modelId="{F248A320-90E2-4D87-B4ED-8E8BBAE56AB3}" srcId="{05A548B1-80FA-40BF-BEDE-4060D5C1BF60}" destId="{5C47D26A-0343-43C2-9A55-C28F6DA276A3}" srcOrd="0" destOrd="0" parTransId="{81E6D77D-0805-4FC5-943C-D07FA7C9D673}" sibTransId="{FD4952D9-90A9-4318-BD48-99160EFC9733}"/>
    <dgm:cxn modelId="{9319F167-FCD2-4388-8869-D860B72D38EC}" srcId="{DFB52242-C45C-4F8B-BC21-A9617C559EC3}" destId="{95A636E5-54B3-48BA-A704-0D2C81719527}" srcOrd="5" destOrd="0" parTransId="{C64EFC2C-0CA5-4A76-9DBB-81066CF11A8C}" sibTransId="{5B3FECA4-6ECE-477B-99FA-AF144DEA5166}"/>
    <dgm:cxn modelId="{5212DFC8-3AA9-4E88-A7AF-D967B1A397BB}" type="presOf" srcId="{0AC6C2A4-6BED-48FC-8894-ED24E24D33E1}" destId="{3E7670FE-62EB-44A3-8F78-F813E06A69BB}" srcOrd="1" destOrd="0" presId="urn:microsoft.com/office/officeart/2009/3/layout/HorizontalOrganizationChart"/>
    <dgm:cxn modelId="{6B77C0B3-7730-4A84-80D9-5014C000A506}" type="presOf" srcId="{05A548B1-80FA-40BF-BEDE-4060D5C1BF60}" destId="{79115C51-8D2E-4F0D-B870-71E9FAA96232}" srcOrd="1" destOrd="0" presId="urn:microsoft.com/office/officeart/2009/3/layout/HorizontalOrganizationChart"/>
    <dgm:cxn modelId="{1D0CCE76-EACE-4C4F-BD2A-C2E7C9222A3B}" srcId="{DFB52242-C45C-4F8B-BC21-A9617C559EC3}" destId="{F8F62D1D-6565-4E47-A767-CEB4D952A0E3}" srcOrd="4" destOrd="0" parTransId="{97CAC142-BB2B-4F4A-AE6C-932A2B3337FA}" sibTransId="{949C7645-28C8-492D-BA6D-F183A42A091A}"/>
    <dgm:cxn modelId="{D38CBFAA-B233-447B-9937-EC1ED628D349}" srcId="{DFB52242-C45C-4F8B-BC21-A9617C559EC3}" destId="{33E66B64-6E74-44DE-876E-1FA911254E01}" srcOrd="0" destOrd="0" parTransId="{0DBC8291-3A5C-47D9-A81F-F6EEFDC5E312}" sibTransId="{1BF0774C-027E-4517-AA93-28E5267BC84C}"/>
    <dgm:cxn modelId="{BDA8EE0D-6909-47AC-933A-4B6C97443D29}" type="presOf" srcId="{F8F62D1D-6565-4E47-A767-CEB4D952A0E3}" destId="{3666039A-A3C6-40B7-8B48-E7D5A88C8F17}" srcOrd="0" destOrd="0" presId="urn:microsoft.com/office/officeart/2009/3/layout/HorizontalOrganizationChart"/>
    <dgm:cxn modelId="{8C984A23-768E-4F0B-A1A7-C93E01CF31C8}" type="presOf" srcId="{F7027F70-D586-4157-8F62-8F0DC1139918}" destId="{EACB6C1B-FEE8-4C51-A009-303F4502C28D}" srcOrd="1" destOrd="0" presId="urn:microsoft.com/office/officeart/2009/3/layout/HorizontalOrganizationChart"/>
    <dgm:cxn modelId="{ABB0165B-4F88-42DC-8233-DECB61B2499A}" type="presOf" srcId="{05A548B1-80FA-40BF-BEDE-4060D5C1BF60}" destId="{D7765471-FD76-4C2B-B74F-410664794211}" srcOrd="0" destOrd="0" presId="urn:microsoft.com/office/officeart/2009/3/layout/HorizontalOrganizationChart"/>
    <dgm:cxn modelId="{2D9D3C9C-BA33-4B05-AF3F-B38F8975DF6B}" srcId="{0AC6C2A4-6BED-48FC-8894-ED24E24D33E1}" destId="{8A0568B5-46CD-4CDF-B0BB-CE7E9C113AD7}" srcOrd="0" destOrd="0" parTransId="{BF342A1C-6149-4314-9CDB-CDEEEB049314}" sibTransId="{58283866-1B85-4CF7-80A0-776CB535B85E}"/>
    <dgm:cxn modelId="{7EB10FCE-870B-441B-AB6D-DB3B760FF415}" type="presOf" srcId="{338CCEBA-E23E-4173-BADA-DFB8AD9DDA51}" destId="{F4EC0999-8AEA-4BB1-B38D-2CB2D993F655}" srcOrd="0" destOrd="0" presId="urn:microsoft.com/office/officeart/2009/3/layout/HorizontalOrganizationChart"/>
    <dgm:cxn modelId="{D85B76D2-1471-4A33-9A32-54FE67F5E8F7}" type="presOf" srcId="{97CAC142-BB2B-4F4A-AE6C-932A2B3337FA}" destId="{37CA0174-2C1E-49A3-A783-90B37A29C29B}" srcOrd="0" destOrd="0" presId="urn:microsoft.com/office/officeart/2009/3/layout/HorizontalOrganizationChart"/>
    <dgm:cxn modelId="{9E322085-6544-4E48-A900-F78297975C58}" type="presOf" srcId="{3B5C7E1A-5C60-40D4-BF51-D9770E4872A4}" destId="{86B53D31-FDC4-43C6-825D-C3C00711DEBC}" srcOrd="1" destOrd="0" presId="urn:microsoft.com/office/officeart/2009/3/layout/HorizontalOrganizationChart"/>
    <dgm:cxn modelId="{EFC52D26-03E6-45F4-9CD2-4027E8F00BB0}" srcId="{7EE2D50C-EFBC-449F-96DF-CC9AF1BAE878}" destId="{3B5C7E1A-5C60-40D4-BF51-D9770E4872A4}" srcOrd="0" destOrd="0" parTransId="{A4210927-DBFA-4946-AA51-7213DDBF72CE}" sibTransId="{D9782C66-A0DA-464F-8280-78A310707C01}"/>
    <dgm:cxn modelId="{2AE7651F-A2CC-4BEC-B338-050968FBCD1A}" type="presOf" srcId="{C33F1A44-8DAA-4D90-8C0C-8119608E357B}" destId="{479074D2-2E8D-46A0-A5DB-36AF571CBF4E}" srcOrd="0" destOrd="0" presId="urn:microsoft.com/office/officeart/2009/3/layout/HorizontalOrganizationChart"/>
    <dgm:cxn modelId="{12068E5C-A09D-4DDA-893B-CC04117170DF}" type="presOf" srcId="{F8F62D1D-6565-4E47-A767-CEB4D952A0E3}" destId="{570E8F86-1777-4CAA-8362-608D17B8F468}" srcOrd="1" destOrd="0" presId="urn:microsoft.com/office/officeart/2009/3/layout/HorizontalOrganizationChart"/>
    <dgm:cxn modelId="{A0D0D87F-AB78-4B4B-95B8-7A2BD209D7D6}" srcId="{DFB52242-C45C-4F8B-BC21-A9617C559EC3}" destId="{7EE2D50C-EFBC-449F-96DF-CC9AF1BAE878}" srcOrd="1" destOrd="0" parTransId="{12611D15-F917-47C7-8B37-BBA3E615FBB1}" sibTransId="{ED315AD2-FA35-4689-90E1-EEBB0CAC1FFA}"/>
    <dgm:cxn modelId="{D47F2C24-AD14-4463-AD30-0A46EAA04316}" type="presOf" srcId="{DFB52242-C45C-4F8B-BC21-A9617C559EC3}" destId="{4D567D70-376E-425E-86FE-59C9A15310C9}" srcOrd="0" destOrd="0" presId="urn:microsoft.com/office/officeart/2009/3/layout/HorizontalOrganizationChart"/>
    <dgm:cxn modelId="{CE29BA74-2E44-4D08-8940-475D0A0D19A9}" type="presOf" srcId="{33E66B64-6E74-44DE-876E-1FA911254E01}" destId="{C5429B2A-C1E1-4A10-8286-4C7399F386C9}" srcOrd="0" destOrd="0" presId="urn:microsoft.com/office/officeart/2009/3/layout/HorizontalOrganizationChart"/>
    <dgm:cxn modelId="{2E73772E-5B4A-4F92-AEBE-F38E1A8C6E08}" type="presOf" srcId="{E88B7E5F-710F-416F-90D5-6B28E2DE0DA6}" destId="{7B813F50-19D5-4392-BE5E-35764BC070EC}" srcOrd="0" destOrd="0" presId="urn:microsoft.com/office/officeart/2009/3/layout/HorizontalOrganizationChart"/>
    <dgm:cxn modelId="{EE79EB2D-4CF9-4D4D-AF0A-0D3213A3DC89}" type="presOf" srcId="{8A0568B5-46CD-4CDF-B0BB-CE7E9C113AD7}" destId="{F06A3746-9291-420E-8C05-7019A2D9FE99}" srcOrd="0" destOrd="0" presId="urn:microsoft.com/office/officeart/2009/3/layout/HorizontalOrganizationChart"/>
    <dgm:cxn modelId="{F345D883-8B55-40C1-A1A0-BCF63F0965DB}" type="presOf" srcId="{F7027F70-D586-4157-8F62-8F0DC1139918}" destId="{572AE0B1-045B-4241-AE67-EAE827773192}" srcOrd="0" destOrd="0" presId="urn:microsoft.com/office/officeart/2009/3/layout/HorizontalOrganizationChart"/>
    <dgm:cxn modelId="{E3A1806C-1299-4659-88C0-4D7918A796B8}" type="presOf" srcId="{3B5C7E1A-5C60-40D4-BF51-D9770E4872A4}" destId="{40EC5E57-3064-4B9F-8FF0-1D2306972077}" srcOrd="0" destOrd="0" presId="urn:microsoft.com/office/officeart/2009/3/layout/HorizontalOrganizationChart"/>
    <dgm:cxn modelId="{B8B0B6D2-75B9-4643-BB82-545B25C2D3F5}" srcId="{DFB52242-C45C-4F8B-BC21-A9617C559EC3}" destId="{0AC6C2A4-6BED-48FC-8894-ED24E24D33E1}" srcOrd="2" destOrd="0" parTransId="{E88B7E5F-710F-416F-90D5-6B28E2DE0DA6}" sibTransId="{4B74E639-2B57-48A0-B40C-63FBBE05A4B1}"/>
    <dgm:cxn modelId="{A1C73C79-67FE-4BB5-93DA-2D85A91817E0}" type="presOf" srcId="{4F110685-2E6F-40AC-9E36-61679D0FA509}" destId="{D922465D-6F25-4719-A60F-CA9749283D71}" srcOrd="0" destOrd="0" presId="urn:microsoft.com/office/officeart/2009/3/layout/HorizontalOrganizationChart"/>
    <dgm:cxn modelId="{F1F3B747-8A88-415A-A24B-1D30948772A6}" srcId="{434F8C5E-7AC2-43EE-B9EB-0D473395C1B2}" destId="{DFB52242-C45C-4F8B-BC21-A9617C559EC3}" srcOrd="0" destOrd="0" parTransId="{67D21C2F-EE6F-4332-A802-3E6C1313BFF0}" sibTransId="{79BC229C-D6CA-4C9E-857E-22C1F8E84C25}"/>
    <dgm:cxn modelId="{5A1CB905-0FF5-4179-B051-E1049AD4A556}" type="presOf" srcId="{33E66B64-6E74-44DE-876E-1FA911254E01}" destId="{A256669D-3A94-404A-BB00-FC5A1AA60104}" srcOrd="1" destOrd="0" presId="urn:microsoft.com/office/officeart/2009/3/layout/HorizontalOrganizationChart"/>
    <dgm:cxn modelId="{20808922-3445-4503-9AD7-BC9FD16F0784}" type="presOf" srcId="{95A636E5-54B3-48BA-A704-0D2C81719527}" destId="{9B5C6B3A-F9A5-405F-91AE-4CB5BA6F916F}" srcOrd="0" destOrd="0" presId="urn:microsoft.com/office/officeart/2009/3/layout/HorizontalOrganizationChart"/>
    <dgm:cxn modelId="{EADBF40A-43EC-40C8-9BD6-74141F7EC77E}" type="presOf" srcId="{BF342A1C-6149-4314-9CDB-CDEEEB049314}" destId="{DE10FD8A-EAF7-4100-A695-9FEC5A595EDF}" srcOrd="0" destOrd="0" presId="urn:microsoft.com/office/officeart/2009/3/layout/HorizontalOrganizationChart"/>
    <dgm:cxn modelId="{0CEFB5E8-1859-486E-A872-3428F4F91DF6}" type="presOf" srcId="{6BC40865-0725-44DD-A2E4-79F7DBF8AE2B}" destId="{4E9D03BB-6E93-4887-9C2A-F56718F32D0A}" srcOrd="0" destOrd="0" presId="urn:microsoft.com/office/officeart/2009/3/layout/HorizontalOrganizationChart"/>
    <dgm:cxn modelId="{604665C4-E7C0-43D5-9077-5B103213D4D2}" type="presOf" srcId="{D83A70C6-450B-4F71-8BDB-A7200F66657F}" destId="{EF5FDC56-33D7-4666-8A4C-E9A2B959ACE6}" srcOrd="0" destOrd="0" presId="urn:microsoft.com/office/officeart/2009/3/layout/HorizontalOrganizationChart"/>
    <dgm:cxn modelId="{809AAB57-1C15-449A-A1BE-7D95F5245F66}" type="presOf" srcId="{C33F1A44-8DAA-4D90-8C0C-8119608E357B}" destId="{4C096135-0294-42AF-8021-5300F8879FA6}" srcOrd="1" destOrd="0" presId="urn:microsoft.com/office/officeart/2009/3/layout/HorizontalOrganizationChart"/>
    <dgm:cxn modelId="{628BD56E-38EC-460F-9BF4-F07912553CF1}" type="presOf" srcId="{434F8C5E-7AC2-43EE-B9EB-0D473395C1B2}" destId="{4F3DE4D1-8421-42F0-B80D-BF6CB728E53D}" srcOrd="0" destOrd="0" presId="urn:microsoft.com/office/officeart/2009/3/layout/HorizontalOrganizationChart"/>
    <dgm:cxn modelId="{E6E0C550-B950-4A0C-95B5-42F8FAB29187}" type="presOf" srcId="{8A0568B5-46CD-4CDF-B0BB-CE7E9C113AD7}" destId="{FCD20844-1CE7-4360-B387-2642B268A27F}" srcOrd="1" destOrd="0" presId="urn:microsoft.com/office/officeart/2009/3/layout/HorizontalOrganizationChart"/>
    <dgm:cxn modelId="{9F79F4BC-E966-4DD7-8651-747B65644B02}" srcId="{F8F62D1D-6565-4E47-A767-CEB4D952A0E3}" destId="{F7027F70-D586-4157-8F62-8F0DC1139918}" srcOrd="0" destOrd="0" parTransId="{4F110685-2E6F-40AC-9E36-61679D0FA509}" sibTransId="{34B2FA83-DDCC-4DB0-8204-B3144430C392}"/>
    <dgm:cxn modelId="{106BE30E-8F88-4E43-BA2D-AE27E48C0B30}" type="presParOf" srcId="{4F3DE4D1-8421-42F0-B80D-BF6CB728E53D}" destId="{F27EAA50-09C8-400B-99DF-F97775395F5F}" srcOrd="0" destOrd="0" presId="urn:microsoft.com/office/officeart/2009/3/layout/HorizontalOrganizationChart"/>
    <dgm:cxn modelId="{F9250A2B-F16F-4FDD-8090-CF2FC0F10225}" type="presParOf" srcId="{F27EAA50-09C8-400B-99DF-F97775395F5F}" destId="{A55F1778-6E35-4605-8AA0-056567A12334}" srcOrd="0" destOrd="0" presId="urn:microsoft.com/office/officeart/2009/3/layout/HorizontalOrganizationChart"/>
    <dgm:cxn modelId="{54F1502E-29D6-4030-BB76-175822DA2E69}" type="presParOf" srcId="{A55F1778-6E35-4605-8AA0-056567A12334}" destId="{4D567D70-376E-425E-86FE-59C9A15310C9}" srcOrd="0" destOrd="0" presId="urn:microsoft.com/office/officeart/2009/3/layout/HorizontalOrganizationChart"/>
    <dgm:cxn modelId="{EE1591B3-392E-40B1-8F05-2E71D696BC07}" type="presParOf" srcId="{A55F1778-6E35-4605-8AA0-056567A12334}" destId="{63E5DABB-B740-4D1F-AD72-CAEB1701B813}" srcOrd="1" destOrd="0" presId="urn:microsoft.com/office/officeart/2009/3/layout/HorizontalOrganizationChart"/>
    <dgm:cxn modelId="{D83F3C00-8403-4D78-8E45-468E1D6573E5}" type="presParOf" srcId="{F27EAA50-09C8-400B-99DF-F97775395F5F}" destId="{BFE010E1-2527-44B3-AE90-8DFF50F33924}" srcOrd="1" destOrd="0" presId="urn:microsoft.com/office/officeart/2009/3/layout/HorizontalOrganizationChart"/>
    <dgm:cxn modelId="{37CD134C-3261-4FBF-BE7F-AEDD48ED1247}" type="presParOf" srcId="{BFE010E1-2527-44B3-AE90-8DFF50F33924}" destId="{13F70BAC-9D8E-4C0F-A3A4-241A5B695124}" srcOrd="0" destOrd="0" presId="urn:microsoft.com/office/officeart/2009/3/layout/HorizontalOrganizationChart"/>
    <dgm:cxn modelId="{CE3A0E7F-CB96-4A78-9045-534D2C82A920}" type="presParOf" srcId="{BFE010E1-2527-44B3-AE90-8DFF50F33924}" destId="{C795E154-89CD-433B-AA84-60B697B68492}" srcOrd="1" destOrd="0" presId="urn:microsoft.com/office/officeart/2009/3/layout/HorizontalOrganizationChart"/>
    <dgm:cxn modelId="{B349BE0A-FDED-4B53-B18D-B707F37A3494}" type="presParOf" srcId="{C795E154-89CD-433B-AA84-60B697B68492}" destId="{AB630E6F-790D-455C-B6A0-2FBBCF03B993}" srcOrd="0" destOrd="0" presId="urn:microsoft.com/office/officeart/2009/3/layout/HorizontalOrganizationChart"/>
    <dgm:cxn modelId="{C30253CE-4FF4-4A08-8858-A747B5138828}" type="presParOf" srcId="{AB630E6F-790D-455C-B6A0-2FBBCF03B993}" destId="{C5429B2A-C1E1-4A10-8286-4C7399F386C9}" srcOrd="0" destOrd="0" presId="urn:microsoft.com/office/officeart/2009/3/layout/HorizontalOrganizationChart"/>
    <dgm:cxn modelId="{FE5DFE7C-DCC7-455E-A700-EF069111312A}" type="presParOf" srcId="{AB630E6F-790D-455C-B6A0-2FBBCF03B993}" destId="{A256669D-3A94-404A-BB00-FC5A1AA60104}" srcOrd="1" destOrd="0" presId="urn:microsoft.com/office/officeart/2009/3/layout/HorizontalOrganizationChart"/>
    <dgm:cxn modelId="{7505B19F-7C66-49A6-BBDC-6B6F3F477EE6}" type="presParOf" srcId="{C795E154-89CD-433B-AA84-60B697B68492}" destId="{C32AFD3A-AA56-4D16-80E3-EA79AD6DD0E9}" srcOrd="1" destOrd="0" presId="urn:microsoft.com/office/officeart/2009/3/layout/HorizontalOrganizationChart"/>
    <dgm:cxn modelId="{F13364C5-83B4-40AE-9154-45747FEC98FF}" type="presParOf" srcId="{C32AFD3A-AA56-4D16-80E3-EA79AD6DD0E9}" destId="{4E9D03BB-6E93-4887-9C2A-F56718F32D0A}" srcOrd="0" destOrd="0" presId="urn:microsoft.com/office/officeart/2009/3/layout/HorizontalOrganizationChart"/>
    <dgm:cxn modelId="{44FEFE2E-7AF9-4EF8-8059-4A183C7B03D9}" type="presParOf" srcId="{C32AFD3A-AA56-4D16-80E3-EA79AD6DD0E9}" destId="{B9CF1C5F-1B13-4078-8BEA-864A1970D6D6}" srcOrd="1" destOrd="0" presId="urn:microsoft.com/office/officeart/2009/3/layout/HorizontalOrganizationChart"/>
    <dgm:cxn modelId="{C90F25E7-0F7A-4F31-8F84-61FDDD6E2420}" type="presParOf" srcId="{B9CF1C5F-1B13-4078-8BEA-864A1970D6D6}" destId="{9AEBDC23-52A6-4A86-8711-E339F769FF4D}" srcOrd="0" destOrd="0" presId="urn:microsoft.com/office/officeart/2009/3/layout/HorizontalOrganizationChart"/>
    <dgm:cxn modelId="{CB4A78B3-A96A-4875-8D15-20B4606DCB58}" type="presParOf" srcId="{9AEBDC23-52A6-4A86-8711-E339F769FF4D}" destId="{479074D2-2E8D-46A0-A5DB-36AF571CBF4E}" srcOrd="0" destOrd="0" presId="urn:microsoft.com/office/officeart/2009/3/layout/HorizontalOrganizationChart"/>
    <dgm:cxn modelId="{A6A769D4-BE0A-4E0A-ACD4-5898DE4B4177}" type="presParOf" srcId="{9AEBDC23-52A6-4A86-8711-E339F769FF4D}" destId="{4C096135-0294-42AF-8021-5300F8879FA6}" srcOrd="1" destOrd="0" presId="urn:microsoft.com/office/officeart/2009/3/layout/HorizontalOrganizationChart"/>
    <dgm:cxn modelId="{1B1C47B0-5221-48BA-B3D8-7FA455C9BBF5}" type="presParOf" srcId="{B9CF1C5F-1B13-4078-8BEA-864A1970D6D6}" destId="{CBCAD83C-0433-4A74-9AAF-DBD59D1B3E7C}" srcOrd="1" destOrd="0" presId="urn:microsoft.com/office/officeart/2009/3/layout/HorizontalOrganizationChart"/>
    <dgm:cxn modelId="{1ABC2A1A-0C63-4092-9EE6-56F195121E19}" type="presParOf" srcId="{B9CF1C5F-1B13-4078-8BEA-864A1970D6D6}" destId="{B858BB80-1CDE-441E-ADD8-A125A84E6CD2}" srcOrd="2" destOrd="0" presId="urn:microsoft.com/office/officeart/2009/3/layout/HorizontalOrganizationChart"/>
    <dgm:cxn modelId="{D45DB960-98C1-4EF7-A1AF-4BFAC260366F}" type="presParOf" srcId="{C795E154-89CD-433B-AA84-60B697B68492}" destId="{4C1A620C-22BB-4B04-B66F-E5FC04497B68}" srcOrd="2" destOrd="0" presId="urn:microsoft.com/office/officeart/2009/3/layout/HorizontalOrganizationChart"/>
    <dgm:cxn modelId="{68028D10-8DA4-4007-AC3C-703CFAF6DC48}" type="presParOf" srcId="{BFE010E1-2527-44B3-AE90-8DFF50F33924}" destId="{5265AC08-B220-473A-8818-5561E4BC3691}" srcOrd="2" destOrd="0" presId="urn:microsoft.com/office/officeart/2009/3/layout/HorizontalOrganizationChart"/>
    <dgm:cxn modelId="{3C5E65B3-2C9F-4E67-B52F-B9E9A6352D9B}" type="presParOf" srcId="{BFE010E1-2527-44B3-AE90-8DFF50F33924}" destId="{D6EA5903-A57E-4934-A66B-799C0A357610}" srcOrd="3" destOrd="0" presId="urn:microsoft.com/office/officeart/2009/3/layout/HorizontalOrganizationChart"/>
    <dgm:cxn modelId="{4067FD97-2287-4436-B83E-A710B8A13BC8}" type="presParOf" srcId="{D6EA5903-A57E-4934-A66B-799C0A357610}" destId="{E2A5720F-BC29-4387-BD62-06F80F34169D}" srcOrd="0" destOrd="0" presId="urn:microsoft.com/office/officeart/2009/3/layout/HorizontalOrganizationChart"/>
    <dgm:cxn modelId="{806B02E3-0D64-4482-987C-5A006C7429AA}" type="presParOf" srcId="{E2A5720F-BC29-4387-BD62-06F80F34169D}" destId="{49DF7171-3E30-487C-A75C-C55800576469}" srcOrd="0" destOrd="0" presId="urn:microsoft.com/office/officeart/2009/3/layout/HorizontalOrganizationChart"/>
    <dgm:cxn modelId="{43764586-5C9D-4B67-BBF3-9905F119775D}" type="presParOf" srcId="{E2A5720F-BC29-4387-BD62-06F80F34169D}" destId="{7FC67E00-AC2D-4625-A51A-7A317C44BE05}" srcOrd="1" destOrd="0" presId="urn:microsoft.com/office/officeart/2009/3/layout/HorizontalOrganizationChart"/>
    <dgm:cxn modelId="{D4A00AB4-6A03-4592-838A-50B0DAD3D2F3}" type="presParOf" srcId="{D6EA5903-A57E-4934-A66B-799C0A357610}" destId="{9661F8E1-DCA7-4E1F-9A9C-76C1E68A0031}" srcOrd="1" destOrd="0" presId="urn:microsoft.com/office/officeart/2009/3/layout/HorizontalOrganizationChart"/>
    <dgm:cxn modelId="{92CBCD72-C229-4312-8A83-4FE0F5F81DD2}" type="presParOf" srcId="{9661F8E1-DCA7-4E1F-9A9C-76C1E68A0031}" destId="{931D64A1-CEA9-4993-85B4-B11903A2FBD6}" srcOrd="0" destOrd="0" presId="urn:microsoft.com/office/officeart/2009/3/layout/HorizontalOrganizationChart"/>
    <dgm:cxn modelId="{DD0D75B7-3F99-4334-90F8-27029FF6C371}" type="presParOf" srcId="{9661F8E1-DCA7-4E1F-9A9C-76C1E68A0031}" destId="{A1951A23-1274-408E-B3F4-B700CB03CD29}" srcOrd="1" destOrd="0" presId="urn:microsoft.com/office/officeart/2009/3/layout/HorizontalOrganizationChart"/>
    <dgm:cxn modelId="{16D89120-E01B-4D07-9EF0-3CD2773CAE96}" type="presParOf" srcId="{A1951A23-1274-408E-B3F4-B700CB03CD29}" destId="{277E3B3C-3E14-420F-8591-9CDBAC5F1C4E}" srcOrd="0" destOrd="0" presId="urn:microsoft.com/office/officeart/2009/3/layout/HorizontalOrganizationChart"/>
    <dgm:cxn modelId="{EBEDA6B3-B3B8-4F74-BDB5-590071489F23}" type="presParOf" srcId="{277E3B3C-3E14-420F-8591-9CDBAC5F1C4E}" destId="{40EC5E57-3064-4B9F-8FF0-1D2306972077}" srcOrd="0" destOrd="0" presId="urn:microsoft.com/office/officeart/2009/3/layout/HorizontalOrganizationChart"/>
    <dgm:cxn modelId="{A3FA528C-0349-4E91-B39B-E59129CCC50A}" type="presParOf" srcId="{277E3B3C-3E14-420F-8591-9CDBAC5F1C4E}" destId="{86B53D31-FDC4-43C6-825D-C3C00711DEBC}" srcOrd="1" destOrd="0" presId="urn:microsoft.com/office/officeart/2009/3/layout/HorizontalOrganizationChart"/>
    <dgm:cxn modelId="{C55547C3-C68C-4D62-817E-64766B7F8747}" type="presParOf" srcId="{A1951A23-1274-408E-B3F4-B700CB03CD29}" destId="{D8F123A6-2C78-444A-9366-FB549F2E1D7B}" srcOrd="1" destOrd="0" presId="urn:microsoft.com/office/officeart/2009/3/layout/HorizontalOrganizationChart"/>
    <dgm:cxn modelId="{10CF782E-7690-4DBA-8976-E719982E3C46}" type="presParOf" srcId="{A1951A23-1274-408E-B3F4-B700CB03CD29}" destId="{8A53AF87-2E92-4D28-AAC0-16309AE9DC0F}" srcOrd="2" destOrd="0" presId="urn:microsoft.com/office/officeart/2009/3/layout/HorizontalOrganizationChart"/>
    <dgm:cxn modelId="{51384992-D540-48AD-90D0-F32C29974668}" type="presParOf" srcId="{D6EA5903-A57E-4934-A66B-799C0A357610}" destId="{DED698D6-7C07-4CD0-A71E-83B26EC4D5F4}" srcOrd="2" destOrd="0" presId="urn:microsoft.com/office/officeart/2009/3/layout/HorizontalOrganizationChart"/>
    <dgm:cxn modelId="{17A1E98B-0CB1-4320-9CB9-E88C000CD836}" type="presParOf" srcId="{BFE010E1-2527-44B3-AE90-8DFF50F33924}" destId="{7B813F50-19D5-4392-BE5E-35764BC070EC}" srcOrd="4" destOrd="0" presId="urn:microsoft.com/office/officeart/2009/3/layout/HorizontalOrganizationChart"/>
    <dgm:cxn modelId="{63360A4C-D19F-41FF-8495-33DFB05ED451}" type="presParOf" srcId="{BFE010E1-2527-44B3-AE90-8DFF50F33924}" destId="{15BE1F89-62B0-4ADE-9D82-DE2ABBEDF8B8}" srcOrd="5" destOrd="0" presId="urn:microsoft.com/office/officeart/2009/3/layout/HorizontalOrganizationChart"/>
    <dgm:cxn modelId="{433AC7AC-30A0-4347-ACC3-F68E36233DFE}" type="presParOf" srcId="{15BE1F89-62B0-4ADE-9D82-DE2ABBEDF8B8}" destId="{DBBBB15E-C351-49E5-A51E-A4BC2496EE21}" srcOrd="0" destOrd="0" presId="urn:microsoft.com/office/officeart/2009/3/layout/HorizontalOrganizationChart"/>
    <dgm:cxn modelId="{9425F5FD-5EC0-410F-AE37-F1C41721B855}" type="presParOf" srcId="{DBBBB15E-C351-49E5-A51E-A4BC2496EE21}" destId="{50857F8E-5BDB-4726-A4E2-24531D46E96C}" srcOrd="0" destOrd="0" presId="urn:microsoft.com/office/officeart/2009/3/layout/HorizontalOrganizationChart"/>
    <dgm:cxn modelId="{C5E4F6D3-413D-421E-B95B-459C7F65B32B}" type="presParOf" srcId="{DBBBB15E-C351-49E5-A51E-A4BC2496EE21}" destId="{3E7670FE-62EB-44A3-8F78-F813E06A69BB}" srcOrd="1" destOrd="0" presId="urn:microsoft.com/office/officeart/2009/3/layout/HorizontalOrganizationChart"/>
    <dgm:cxn modelId="{E13F8A14-59BB-48E3-ABF4-9AED2A1395C6}" type="presParOf" srcId="{15BE1F89-62B0-4ADE-9D82-DE2ABBEDF8B8}" destId="{08D2E9D5-8B93-4AFB-9B6E-878B7B97CBB0}" srcOrd="1" destOrd="0" presId="urn:microsoft.com/office/officeart/2009/3/layout/HorizontalOrganizationChart"/>
    <dgm:cxn modelId="{AACE1A76-D865-40A5-A988-AA988AC73A8C}" type="presParOf" srcId="{08D2E9D5-8B93-4AFB-9B6E-878B7B97CBB0}" destId="{DE10FD8A-EAF7-4100-A695-9FEC5A595EDF}" srcOrd="0" destOrd="0" presId="urn:microsoft.com/office/officeart/2009/3/layout/HorizontalOrganizationChart"/>
    <dgm:cxn modelId="{61ACB8BC-B9FE-4814-A008-8BA04B32703A}" type="presParOf" srcId="{08D2E9D5-8B93-4AFB-9B6E-878B7B97CBB0}" destId="{2B588BD6-CBB9-473D-8A34-EF6EB9F0F3C0}" srcOrd="1" destOrd="0" presId="urn:microsoft.com/office/officeart/2009/3/layout/HorizontalOrganizationChart"/>
    <dgm:cxn modelId="{B658B3DB-46C4-4C44-BC2C-774A5F4813F2}" type="presParOf" srcId="{2B588BD6-CBB9-473D-8A34-EF6EB9F0F3C0}" destId="{5A3403AE-0A24-4A5A-9FA8-6B48F85BD794}" srcOrd="0" destOrd="0" presId="urn:microsoft.com/office/officeart/2009/3/layout/HorizontalOrganizationChart"/>
    <dgm:cxn modelId="{5E04F415-BA99-422E-8640-538F1C48EFE3}" type="presParOf" srcId="{5A3403AE-0A24-4A5A-9FA8-6B48F85BD794}" destId="{F06A3746-9291-420E-8C05-7019A2D9FE99}" srcOrd="0" destOrd="0" presId="urn:microsoft.com/office/officeart/2009/3/layout/HorizontalOrganizationChart"/>
    <dgm:cxn modelId="{3B4A9142-0493-42AF-8C4E-50DB78D63DD0}" type="presParOf" srcId="{5A3403AE-0A24-4A5A-9FA8-6B48F85BD794}" destId="{FCD20844-1CE7-4360-B387-2642B268A27F}" srcOrd="1" destOrd="0" presId="urn:microsoft.com/office/officeart/2009/3/layout/HorizontalOrganizationChart"/>
    <dgm:cxn modelId="{37B8CC3A-ADC8-48E0-999E-5368A6C68CDE}" type="presParOf" srcId="{2B588BD6-CBB9-473D-8A34-EF6EB9F0F3C0}" destId="{DE7951E4-F86B-48ED-A39A-5E7A23FDD8B9}" srcOrd="1" destOrd="0" presId="urn:microsoft.com/office/officeart/2009/3/layout/HorizontalOrganizationChart"/>
    <dgm:cxn modelId="{11CBE398-00AD-49AB-B783-38715A3CB5EC}" type="presParOf" srcId="{2B588BD6-CBB9-473D-8A34-EF6EB9F0F3C0}" destId="{0F40DD15-5E61-4E4D-808F-0C7B20DF71FA}" srcOrd="2" destOrd="0" presId="urn:microsoft.com/office/officeart/2009/3/layout/HorizontalOrganizationChart"/>
    <dgm:cxn modelId="{D7BFBFB4-A9F6-4F14-9F1A-6CF2BE7BE3C1}" type="presParOf" srcId="{15BE1F89-62B0-4ADE-9D82-DE2ABBEDF8B8}" destId="{23F8F901-5C02-407F-832F-A5DD93FCA993}" srcOrd="2" destOrd="0" presId="urn:microsoft.com/office/officeart/2009/3/layout/HorizontalOrganizationChart"/>
    <dgm:cxn modelId="{D217C191-96B0-42AA-8ACB-2F470877844A}" type="presParOf" srcId="{BFE010E1-2527-44B3-AE90-8DFF50F33924}" destId="{EF5FDC56-33D7-4666-8A4C-E9A2B959ACE6}" srcOrd="6" destOrd="0" presId="urn:microsoft.com/office/officeart/2009/3/layout/HorizontalOrganizationChart"/>
    <dgm:cxn modelId="{1EC51E44-246F-40D4-BD06-7E4DDAE181E4}" type="presParOf" srcId="{BFE010E1-2527-44B3-AE90-8DFF50F33924}" destId="{71066C1A-A897-41D2-BD14-52F26B77BE74}" srcOrd="7" destOrd="0" presId="urn:microsoft.com/office/officeart/2009/3/layout/HorizontalOrganizationChart"/>
    <dgm:cxn modelId="{070B33D4-AA33-41F0-93C7-4C13F35B5193}" type="presParOf" srcId="{71066C1A-A897-41D2-BD14-52F26B77BE74}" destId="{96FEDDDB-7A79-44C3-9015-401FB391B9DA}" srcOrd="0" destOrd="0" presId="urn:microsoft.com/office/officeart/2009/3/layout/HorizontalOrganizationChart"/>
    <dgm:cxn modelId="{B10E096A-1791-450D-8F88-BFB6EE08FC0F}" type="presParOf" srcId="{96FEDDDB-7A79-44C3-9015-401FB391B9DA}" destId="{D7765471-FD76-4C2B-B74F-410664794211}" srcOrd="0" destOrd="0" presId="urn:microsoft.com/office/officeart/2009/3/layout/HorizontalOrganizationChart"/>
    <dgm:cxn modelId="{00341A3C-5F98-4C7F-86A1-2500A3A44E86}" type="presParOf" srcId="{96FEDDDB-7A79-44C3-9015-401FB391B9DA}" destId="{79115C51-8D2E-4F0D-B870-71E9FAA96232}" srcOrd="1" destOrd="0" presId="urn:microsoft.com/office/officeart/2009/3/layout/HorizontalOrganizationChart"/>
    <dgm:cxn modelId="{9D8C13C3-F66A-4F08-B072-E9FC7465CDB5}" type="presParOf" srcId="{71066C1A-A897-41D2-BD14-52F26B77BE74}" destId="{A26DA9B8-9E4E-4C5C-9BE5-7E21612B87BA}" srcOrd="1" destOrd="0" presId="urn:microsoft.com/office/officeart/2009/3/layout/HorizontalOrganizationChart"/>
    <dgm:cxn modelId="{B32A3C73-9E2C-4A6F-A580-79AF90599137}" type="presParOf" srcId="{A26DA9B8-9E4E-4C5C-9BE5-7E21612B87BA}" destId="{4D26E2DE-FF25-4D4F-93C6-8ED58F5CD5F8}" srcOrd="0" destOrd="0" presId="urn:microsoft.com/office/officeart/2009/3/layout/HorizontalOrganizationChart"/>
    <dgm:cxn modelId="{874D52E4-D948-4456-88AB-AA06305F7FDA}" type="presParOf" srcId="{A26DA9B8-9E4E-4C5C-9BE5-7E21612B87BA}" destId="{B49B8102-125F-48A2-B513-4EA2B1BEF39E}" srcOrd="1" destOrd="0" presId="urn:microsoft.com/office/officeart/2009/3/layout/HorizontalOrganizationChart"/>
    <dgm:cxn modelId="{D8BA1E49-E23C-47DD-82C5-AF603BF01898}" type="presParOf" srcId="{B49B8102-125F-48A2-B513-4EA2B1BEF39E}" destId="{99D2C93B-D540-4C00-8683-E2BC360E4AC8}" srcOrd="0" destOrd="0" presId="urn:microsoft.com/office/officeart/2009/3/layout/HorizontalOrganizationChart"/>
    <dgm:cxn modelId="{25A2C314-1F66-4D26-BADC-C5FB914D50E0}" type="presParOf" srcId="{99D2C93B-D540-4C00-8683-E2BC360E4AC8}" destId="{71FCC228-40E5-41DF-AF3F-092197794A0D}" srcOrd="0" destOrd="0" presId="urn:microsoft.com/office/officeart/2009/3/layout/HorizontalOrganizationChart"/>
    <dgm:cxn modelId="{2424E376-A910-49CC-BF76-703F70FE88BC}" type="presParOf" srcId="{99D2C93B-D540-4C00-8683-E2BC360E4AC8}" destId="{8F7B3EBB-E1B3-4443-A945-A4E67EB0BFCC}" srcOrd="1" destOrd="0" presId="urn:microsoft.com/office/officeart/2009/3/layout/HorizontalOrganizationChart"/>
    <dgm:cxn modelId="{89FA296C-E90C-4DCE-B117-D0BFE8E8BE51}" type="presParOf" srcId="{B49B8102-125F-48A2-B513-4EA2B1BEF39E}" destId="{22D325B4-2385-4068-A806-1D498F518B8F}" srcOrd="1" destOrd="0" presId="urn:microsoft.com/office/officeart/2009/3/layout/HorizontalOrganizationChart"/>
    <dgm:cxn modelId="{7EAA8E79-FBF6-47DD-8592-CEC97ABE6933}" type="presParOf" srcId="{B49B8102-125F-48A2-B513-4EA2B1BEF39E}" destId="{AC9D05EC-BF8C-4D99-9CB5-99CA471413EE}" srcOrd="2" destOrd="0" presId="urn:microsoft.com/office/officeart/2009/3/layout/HorizontalOrganizationChart"/>
    <dgm:cxn modelId="{D76862D2-0509-46A7-98B0-30D8829DCDDD}" type="presParOf" srcId="{71066C1A-A897-41D2-BD14-52F26B77BE74}" destId="{FFCF2F89-EBAC-490A-8CB7-898E1D7FE9D5}" srcOrd="2" destOrd="0" presId="urn:microsoft.com/office/officeart/2009/3/layout/HorizontalOrganizationChart"/>
    <dgm:cxn modelId="{C8DAEFE3-FB84-4AE2-B05F-64C17D84E43A}" type="presParOf" srcId="{BFE010E1-2527-44B3-AE90-8DFF50F33924}" destId="{37CA0174-2C1E-49A3-A783-90B37A29C29B}" srcOrd="8" destOrd="0" presId="urn:microsoft.com/office/officeart/2009/3/layout/HorizontalOrganizationChart"/>
    <dgm:cxn modelId="{8DED1D74-0599-445D-A5D7-8E2C0A56A7C5}" type="presParOf" srcId="{BFE010E1-2527-44B3-AE90-8DFF50F33924}" destId="{F965AAEB-59B9-4B78-ACE1-C3CF653E8931}" srcOrd="9" destOrd="0" presId="urn:microsoft.com/office/officeart/2009/3/layout/HorizontalOrganizationChart"/>
    <dgm:cxn modelId="{38925D35-7F39-4A59-9D53-037FF37B842E}" type="presParOf" srcId="{F965AAEB-59B9-4B78-ACE1-C3CF653E8931}" destId="{6A144D4C-2C52-4AC3-AE76-5929C547DF9E}" srcOrd="0" destOrd="0" presId="urn:microsoft.com/office/officeart/2009/3/layout/HorizontalOrganizationChart"/>
    <dgm:cxn modelId="{B018777C-230D-4BCE-8743-404D3D04FB2F}" type="presParOf" srcId="{6A144D4C-2C52-4AC3-AE76-5929C547DF9E}" destId="{3666039A-A3C6-40B7-8B48-E7D5A88C8F17}" srcOrd="0" destOrd="0" presId="urn:microsoft.com/office/officeart/2009/3/layout/HorizontalOrganizationChart"/>
    <dgm:cxn modelId="{826170F1-4A09-48D8-99F4-5FB5D08A1DE9}" type="presParOf" srcId="{6A144D4C-2C52-4AC3-AE76-5929C547DF9E}" destId="{570E8F86-1777-4CAA-8362-608D17B8F468}" srcOrd="1" destOrd="0" presId="urn:microsoft.com/office/officeart/2009/3/layout/HorizontalOrganizationChart"/>
    <dgm:cxn modelId="{450AE1B6-73F7-459D-8428-AB2BA291BAD3}" type="presParOf" srcId="{F965AAEB-59B9-4B78-ACE1-C3CF653E8931}" destId="{0E9BA883-EFF1-4830-8266-BB9110B108A2}" srcOrd="1" destOrd="0" presId="urn:microsoft.com/office/officeart/2009/3/layout/HorizontalOrganizationChart"/>
    <dgm:cxn modelId="{7C5720E3-BBE9-4121-B335-5BF8E84C03F3}" type="presParOf" srcId="{0E9BA883-EFF1-4830-8266-BB9110B108A2}" destId="{D922465D-6F25-4719-A60F-CA9749283D71}" srcOrd="0" destOrd="0" presId="urn:microsoft.com/office/officeart/2009/3/layout/HorizontalOrganizationChart"/>
    <dgm:cxn modelId="{C7F6F579-45F7-4E2C-827B-3D26834E69A5}" type="presParOf" srcId="{0E9BA883-EFF1-4830-8266-BB9110B108A2}" destId="{436F7A3F-2B35-4BE0-961B-05113485B90D}" srcOrd="1" destOrd="0" presId="urn:microsoft.com/office/officeart/2009/3/layout/HorizontalOrganizationChart"/>
    <dgm:cxn modelId="{AFAEF752-F429-4045-A492-E1AEFD10A34C}" type="presParOf" srcId="{436F7A3F-2B35-4BE0-961B-05113485B90D}" destId="{9A49D615-9C66-4B20-A276-55684369E8F7}" srcOrd="0" destOrd="0" presId="urn:microsoft.com/office/officeart/2009/3/layout/HorizontalOrganizationChart"/>
    <dgm:cxn modelId="{2700650E-D62C-48CF-B89D-C312284227D9}" type="presParOf" srcId="{9A49D615-9C66-4B20-A276-55684369E8F7}" destId="{572AE0B1-045B-4241-AE67-EAE827773192}" srcOrd="0" destOrd="0" presId="urn:microsoft.com/office/officeart/2009/3/layout/HorizontalOrganizationChart"/>
    <dgm:cxn modelId="{7A303544-21AE-49B0-9172-E0814F35DDAA}" type="presParOf" srcId="{9A49D615-9C66-4B20-A276-55684369E8F7}" destId="{EACB6C1B-FEE8-4C51-A009-303F4502C28D}" srcOrd="1" destOrd="0" presId="urn:microsoft.com/office/officeart/2009/3/layout/HorizontalOrganizationChart"/>
    <dgm:cxn modelId="{081070F9-CDF0-4D84-B265-E652DDA36D63}" type="presParOf" srcId="{436F7A3F-2B35-4BE0-961B-05113485B90D}" destId="{1F687E64-61EE-4166-90B4-12B71BBF31B7}" srcOrd="1" destOrd="0" presId="urn:microsoft.com/office/officeart/2009/3/layout/HorizontalOrganizationChart"/>
    <dgm:cxn modelId="{54EC12E6-B073-4DA1-A8F8-3C86D3AC3483}" type="presParOf" srcId="{436F7A3F-2B35-4BE0-961B-05113485B90D}" destId="{0B40AEB8-F56F-43F2-96A3-2A95E7622E85}" srcOrd="2" destOrd="0" presId="urn:microsoft.com/office/officeart/2009/3/layout/HorizontalOrganizationChart"/>
    <dgm:cxn modelId="{14C74D1F-C9A2-42A2-807B-93513E565542}" type="presParOf" srcId="{F965AAEB-59B9-4B78-ACE1-C3CF653E8931}" destId="{F9661156-7549-4706-8CBB-E6FBF3E3DAD6}" srcOrd="2" destOrd="0" presId="urn:microsoft.com/office/officeart/2009/3/layout/HorizontalOrganizationChart"/>
    <dgm:cxn modelId="{919B3C3F-2096-4C7D-B9CF-609403D88F2C}" type="presParOf" srcId="{BFE010E1-2527-44B3-AE90-8DFF50F33924}" destId="{6F675A61-416B-4EEA-B09C-EFAD70C3CCDD}" srcOrd="10" destOrd="0" presId="urn:microsoft.com/office/officeart/2009/3/layout/HorizontalOrganizationChart"/>
    <dgm:cxn modelId="{DFEB9BE7-C846-4D96-A080-D266A7E5C980}" type="presParOf" srcId="{BFE010E1-2527-44B3-AE90-8DFF50F33924}" destId="{DAE5B677-5EF9-4F11-9CE3-D5768CA81DBC}" srcOrd="11" destOrd="0" presId="urn:microsoft.com/office/officeart/2009/3/layout/HorizontalOrganizationChart"/>
    <dgm:cxn modelId="{5B316184-D5E3-4720-BFB8-D9D434DF3156}" type="presParOf" srcId="{DAE5B677-5EF9-4F11-9CE3-D5768CA81DBC}" destId="{44370FF8-1946-49A9-B934-E881D73B4D40}" srcOrd="0" destOrd="0" presId="urn:microsoft.com/office/officeart/2009/3/layout/HorizontalOrganizationChart"/>
    <dgm:cxn modelId="{467A146E-D779-4A0C-A89F-5FE1CFFE6B1A}" type="presParOf" srcId="{44370FF8-1946-49A9-B934-E881D73B4D40}" destId="{9B5C6B3A-F9A5-405F-91AE-4CB5BA6F916F}" srcOrd="0" destOrd="0" presId="urn:microsoft.com/office/officeart/2009/3/layout/HorizontalOrganizationChart"/>
    <dgm:cxn modelId="{F4EB77FD-9C8C-483C-BB89-EF44F20D32DA}" type="presParOf" srcId="{44370FF8-1946-49A9-B934-E881D73B4D40}" destId="{F859B64C-343C-4650-BBA9-19AB48D802FA}" srcOrd="1" destOrd="0" presId="urn:microsoft.com/office/officeart/2009/3/layout/HorizontalOrganizationChart"/>
    <dgm:cxn modelId="{31BADAE6-5FC4-49CA-8B3A-5A6DF94A86B1}" type="presParOf" srcId="{DAE5B677-5EF9-4F11-9CE3-D5768CA81DBC}" destId="{85130105-0971-4E66-9FC8-46DBF5544CD9}" srcOrd="1" destOrd="0" presId="urn:microsoft.com/office/officeart/2009/3/layout/HorizontalOrganizationChart"/>
    <dgm:cxn modelId="{45F14EE3-E38F-493F-ABDD-4F73F5F9D110}" type="presParOf" srcId="{85130105-0971-4E66-9FC8-46DBF5544CD9}" destId="{F4EC0999-8AEA-4BB1-B38D-2CB2D993F655}" srcOrd="0" destOrd="0" presId="urn:microsoft.com/office/officeart/2009/3/layout/HorizontalOrganizationChart"/>
    <dgm:cxn modelId="{CFE64450-41EB-42EA-A476-C76FF1A4D5FB}" type="presParOf" srcId="{85130105-0971-4E66-9FC8-46DBF5544CD9}" destId="{A3163143-43BD-474D-97F5-675AA59A81BE}" srcOrd="1" destOrd="0" presId="urn:microsoft.com/office/officeart/2009/3/layout/HorizontalOrganizationChart"/>
    <dgm:cxn modelId="{40427227-77E0-410C-B18C-A7671D10DB2A}" type="presParOf" srcId="{A3163143-43BD-474D-97F5-675AA59A81BE}" destId="{C969ADD0-7C92-4A81-8A11-2E8C0E5B7083}" srcOrd="0" destOrd="0" presId="urn:microsoft.com/office/officeart/2009/3/layout/HorizontalOrganizationChart"/>
    <dgm:cxn modelId="{34A937E7-B32F-40B1-9C6A-19F4848CFCC8}" type="presParOf" srcId="{C969ADD0-7C92-4A81-8A11-2E8C0E5B7083}" destId="{159C6CE5-3E79-4362-92A4-4E25FC7BE5D7}" srcOrd="0" destOrd="0" presId="urn:microsoft.com/office/officeart/2009/3/layout/HorizontalOrganizationChart"/>
    <dgm:cxn modelId="{F085DE71-9CD2-4187-9F8D-62F043D24218}" type="presParOf" srcId="{C969ADD0-7C92-4A81-8A11-2E8C0E5B7083}" destId="{30B8A6FA-18B2-406F-A93F-3D3DFFC49BE1}" srcOrd="1" destOrd="0" presId="urn:microsoft.com/office/officeart/2009/3/layout/HorizontalOrganizationChart"/>
    <dgm:cxn modelId="{0C5B6353-F232-4275-AA54-A33FBFE5DB6F}" type="presParOf" srcId="{A3163143-43BD-474D-97F5-675AA59A81BE}" destId="{DBEE788A-8FAB-4AE9-A910-66CC6144A791}" srcOrd="1" destOrd="0" presId="urn:microsoft.com/office/officeart/2009/3/layout/HorizontalOrganizationChart"/>
    <dgm:cxn modelId="{A6829B77-CC70-480F-B3B3-97774443A7FA}" type="presParOf" srcId="{A3163143-43BD-474D-97F5-675AA59A81BE}" destId="{F0A65A4E-6ACA-4B3E-8866-E43F790959A7}" srcOrd="2" destOrd="0" presId="urn:microsoft.com/office/officeart/2009/3/layout/HorizontalOrganizationChart"/>
    <dgm:cxn modelId="{AC60155C-C9DB-405B-82FB-7229FE32F413}" type="presParOf" srcId="{DAE5B677-5EF9-4F11-9CE3-D5768CA81DBC}" destId="{E811CD29-2291-4302-8E18-F61699FF193B}" srcOrd="2" destOrd="0" presId="urn:microsoft.com/office/officeart/2009/3/layout/HorizontalOrganizationChart"/>
    <dgm:cxn modelId="{223386D3-3FE2-4F0E-8A0A-207A6EF843FB}" type="presParOf" srcId="{F27EAA50-09C8-400B-99DF-F97775395F5F}" destId="{D14BCB05-2ECE-4701-AE5B-8E0EFC61B158}" srcOrd="2" destOrd="0" presId="urn:microsoft.com/office/officeart/2009/3/layout/HorizontalOrganizationChar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AB51621-D043-49A1-B7F8-ED7CDBBB14F1}" type="doc">
      <dgm:prSet loTypeId="urn:microsoft.com/office/officeart/2005/8/layout/chevron1" loCatId="process" qsTypeId="urn:microsoft.com/office/officeart/2005/8/quickstyle/simple1" qsCatId="simple" csTypeId="urn:microsoft.com/office/officeart/2005/8/colors/accent0_3" csCatId="mainScheme" phldr="1"/>
      <dgm:spPr/>
    </dgm:pt>
    <dgm:pt modelId="{F1B1CA83-4CA0-4928-AFE2-87F22E76A5EC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1500" b="1" dirty="0" smtClean="0"/>
            <a:t>Text</a:t>
          </a:r>
          <a:endParaRPr lang="de-DE" sz="1500" b="1" dirty="0"/>
        </a:p>
      </dgm:t>
    </dgm:pt>
    <dgm:pt modelId="{EF52C00B-F0EF-4997-BB54-C3CE4DAB5256}" type="parTrans" cxnId="{F5F98CE9-8211-43CA-AF25-04508591C4E2}">
      <dgm:prSet/>
      <dgm:spPr/>
      <dgm:t>
        <a:bodyPr/>
        <a:lstStyle/>
        <a:p>
          <a:endParaRPr lang="de-DE" sz="1500" b="1"/>
        </a:p>
      </dgm:t>
    </dgm:pt>
    <dgm:pt modelId="{34427F33-3E19-4666-897F-0813D36B0B82}" type="sibTrans" cxnId="{F5F98CE9-8211-43CA-AF25-04508591C4E2}">
      <dgm:prSet/>
      <dgm:spPr/>
      <dgm:t>
        <a:bodyPr/>
        <a:lstStyle/>
        <a:p>
          <a:endParaRPr lang="de-DE" sz="1500" b="1"/>
        </a:p>
      </dgm:t>
    </dgm:pt>
    <dgm:pt modelId="{5C103F7D-4AE8-49BB-A2A7-A1C799EEC0B3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1500" b="1" smtClean="0"/>
            <a:t>Text</a:t>
          </a:r>
          <a:endParaRPr lang="de-DE" sz="1500" b="1" dirty="0"/>
        </a:p>
      </dgm:t>
    </dgm:pt>
    <dgm:pt modelId="{4C9C5715-256D-4A59-81C9-D273971A27B0}" type="parTrans" cxnId="{FED1EF1F-529B-4363-91B9-9390E0B352C7}">
      <dgm:prSet/>
      <dgm:spPr/>
      <dgm:t>
        <a:bodyPr/>
        <a:lstStyle/>
        <a:p>
          <a:endParaRPr lang="de-DE" sz="1500" b="1"/>
        </a:p>
      </dgm:t>
    </dgm:pt>
    <dgm:pt modelId="{1807D0D3-ADD6-424A-B22C-29BEC4A1812F}" type="sibTrans" cxnId="{FED1EF1F-529B-4363-91B9-9390E0B352C7}">
      <dgm:prSet/>
      <dgm:spPr/>
      <dgm:t>
        <a:bodyPr/>
        <a:lstStyle/>
        <a:p>
          <a:endParaRPr lang="de-DE" sz="1500" b="1"/>
        </a:p>
      </dgm:t>
    </dgm:pt>
    <dgm:pt modelId="{DEC7F055-1876-4E3B-BC7F-7C4BFF22E0E1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1500" b="1" smtClean="0"/>
            <a:t>Text</a:t>
          </a:r>
          <a:endParaRPr lang="de-DE" sz="1500" b="1" dirty="0"/>
        </a:p>
      </dgm:t>
    </dgm:pt>
    <dgm:pt modelId="{6CD033D7-F7C3-4B15-981C-19217CD47035}" type="parTrans" cxnId="{D4522139-56D8-475D-B49D-E37BD0F210BE}">
      <dgm:prSet/>
      <dgm:spPr/>
      <dgm:t>
        <a:bodyPr/>
        <a:lstStyle/>
        <a:p>
          <a:endParaRPr lang="de-DE" sz="1500" b="1"/>
        </a:p>
      </dgm:t>
    </dgm:pt>
    <dgm:pt modelId="{38544BFD-931E-4D03-9C17-FD73405D342C}" type="sibTrans" cxnId="{D4522139-56D8-475D-B49D-E37BD0F210BE}">
      <dgm:prSet/>
      <dgm:spPr/>
      <dgm:t>
        <a:bodyPr/>
        <a:lstStyle/>
        <a:p>
          <a:endParaRPr lang="de-DE" sz="1500" b="1"/>
        </a:p>
      </dgm:t>
    </dgm:pt>
    <dgm:pt modelId="{66A72527-3B9D-4635-AB5C-89BE27C52D87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1500" b="1" dirty="0" smtClean="0"/>
            <a:t>Text</a:t>
          </a:r>
          <a:endParaRPr lang="de-DE" sz="1500" b="1" dirty="0"/>
        </a:p>
      </dgm:t>
    </dgm:pt>
    <dgm:pt modelId="{4E555D4E-C3CF-46EE-9569-A5F819B58B19}" type="parTrans" cxnId="{80CC6533-4721-4BF9-9EC6-0E2A67A5E887}">
      <dgm:prSet/>
      <dgm:spPr/>
      <dgm:t>
        <a:bodyPr/>
        <a:lstStyle/>
        <a:p>
          <a:endParaRPr lang="de-DE" sz="1500" b="1"/>
        </a:p>
      </dgm:t>
    </dgm:pt>
    <dgm:pt modelId="{68349DF9-4804-4F16-8A7F-3728344AFDC1}" type="sibTrans" cxnId="{80CC6533-4721-4BF9-9EC6-0E2A67A5E887}">
      <dgm:prSet/>
      <dgm:spPr/>
      <dgm:t>
        <a:bodyPr/>
        <a:lstStyle/>
        <a:p>
          <a:endParaRPr lang="de-DE" sz="1500" b="1"/>
        </a:p>
      </dgm:t>
    </dgm:pt>
    <dgm:pt modelId="{B37954AA-5BB5-49E1-BEDF-8B4CE755CD61}">
      <dgm:prSet phldrT="[Text]" custT="1"/>
      <dgm:spPr>
        <a:solidFill>
          <a:schemeClr val="bg2"/>
        </a:solidFill>
        <a:ln>
          <a:noFill/>
        </a:ln>
      </dgm:spPr>
      <dgm:t>
        <a:bodyPr/>
        <a:lstStyle/>
        <a:p>
          <a:r>
            <a:rPr lang="de-DE" sz="1500" b="1" dirty="0" smtClean="0"/>
            <a:t>Text</a:t>
          </a:r>
          <a:endParaRPr lang="de-DE" sz="1500" b="1" dirty="0"/>
        </a:p>
      </dgm:t>
    </dgm:pt>
    <dgm:pt modelId="{5622E69A-4EBF-4311-BE92-C8E46C0FC81D}" type="parTrans" cxnId="{AC2FAC62-0BC6-41A6-BF58-B70AC09EB5BF}">
      <dgm:prSet/>
      <dgm:spPr/>
      <dgm:t>
        <a:bodyPr/>
        <a:lstStyle/>
        <a:p>
          <a:endParaRPr lang="de-DE" sz="1500" b="1"/>
        </a:p>
      </dgm:t>
    </dgm:pt>
    <dgm:pt modelId="{9CEAD65F-FBB6-4416-995E-77C93F2966A4}" type="sibTrans" cxnId="{AC2FAC62-0BC6-41A6-BF58-B70AC09EB5BF}">
      <dgm:prSet/>
      <dgm:spPr/>
      <dgm:t>
        <a:bodyPr/>
        <a:lstStyle/>
        <a:p>
          <a:endParaRPr lang="de-DE" sz="1500" b="1"/>
        </a:p>
      </dgm:t>
    </dgm:pt>
    <dgm:pt modelId="{E3C4B139-2F6F-4E01-8D9D-D3B1373C1758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de-DE" sz="1500" b="1" dirty="0" smtClean="0"/>
            <a:t>Text</a:t>
          </a:r>
          <a:endParaRPr lang="de-DE" sz="1500" b="1" dirty="0"/>
        </a:p>
      </dgm:t>
    </dgm:pt>
    <dgm:pt modelId="{6F1A42A0-EC77-4582-915C-C3F96AA58228}" type="parTrans" cxnId="{7C35C645-AA67-4917-8960-21416BF7A3C5}">
      <dgm:prSet/>
      <dgm:spPr/>
      <dgm:t>
        <a:bodyPr/>
        <a:lstStyle/>
        <a:p>
          <a:endParaRPr lang="de-DE" sz="1500" b="1"/>
        </a:p>
      </dgm:t>
    </dgm:pt>
    <dgm:pt modelId="{6A44D978-C19D-4CD4-A88E-599F9796E4FA}" type="sibTrans" cxnId="{7C35C645-AA67-4917-8960-21416BF7A3C5}">
      <dgm:prSet/>
      <dgm:spPr/>
      <dgm:t>
        <a:bodyPr/>
        <a:lstStyle/>
        <a:p>
          <a:endParaRPr lang="de-DE" sz="1500" b="1"/>
        </a:p>
      </dgm:t>
    </dgm:pt>
    <dgm:pt modelId="{6062F6BE-2896-4EB0-8FE5-C646E5D24FDF}" type="pres">
      <dgm:prSet presAssocID="{4AB51621-D043-49A1-B7F8-ED7CDBBB14F1}" presName="Name0" presStyleCnt="0">
        <dgm:presLayoutVars>
          <dgm:dir/>
          <dgm:animLvl val="lvl"/>
          <dgm:resizeHandles val="exact"/>
        </dgm:presLayoutVars>
      </dgm:prSet>
      <dgm:spPr/>
    </dgm:pt>
    <dgm:pt modelId="{DFE868BA-8394-4EA7-BDAA-C56F0FB1B508}" type="pres">
      <dgm:prSet presAssocID="{F1B1CA83-4CA0-4928-AFE2-87F22E76A5EC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52A59EA-56CB-4476-9AC8-E8ADF5E30A12}" type="pres">
      <dgm:prSet presAssocID="{34427F33-3E19-4666-897F-0813D36B0B82}" presName="parTxOnlySpace" presStyleCnt="0"/>
      <dgm:spPr/>
    </dgm:pt>
    <dgm:pt modelId="{D16E3EC5-CDED-4DA0-8C80-1F8A09EF5EE4}" type="pres">
      <dgm:prSet presAssocID="{5C103F7D-4AE8-49BB-A2A7-A1C799EEC0B3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E639A7-13FB-48E3-AD66-F312C864F632}" type="pres">
      <dgm:prSet presAssocID="{1807D0D3-ADD6-424A-B22C-29BEC4A1812F}" presName="parTxOnlySpace" presStyleCnt="0"/>
      <dgm:spPr/>
    </dgm:pt>
    <dgm:pt modelId="{E22A3F48-5724-42B2-ACDE-11416077EF4D}" type="pres">
      <dgm:prSet presAssocID="{DEC7F055-1876-4E3B-BC7F-7C4BFF22E0E1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CE4427F-0AFA-4E20-B1FB-990447C0C996}" type="pres">
      <dgm:prSet presAssocID="{38544BFD-931E-4D03-9C17-FD73405D342C}" presName="parTxOnlySpace" presStyleCnt="0"/>
      <dgm:spPr/>
    </dgm:pt>
    <dgm:pt modelId="{1B6FF7A9-07F9-428D-8190-9808CDBB4DE5}" type="pres">
      <dgm:prSet presAssocID="{66A72527-3B9D-4635-AB5C-89BE27C52D87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6EBE329-27A3-4F30-B852-17E9B805AD94}" type="pres">
      <dgm:prSet presAssocID="{68349DF9-4804-4F16-8A7F-3728344AFDC1}" presName="parTxOnlySpace" presStyleCnt="0"/>
      <dgm:spPr/>
    </dgm:pt>
    <dgm:pt modelId="{08863FA9-998C-4607-8280-2F305D718F2F}" type="pres">
      <dgm:prSet presAssocID="{B37954AA-5BB5-49E1-BEDF-8B4CE755CD61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ADF24-A8B1-4CA0-B16E-220842BDA9EE}" type="pres">
      <dgm:prSet presAssocID="{9CEAD65F-FBB6-4416-995E-77C93F2966A4}" presName="parTxOnlySpace" presStyleCnt="0"/>
      <dgm:spPr/>
    </dgm:pt>
    <dgm:pt modelId="{9F67105C-2F0D-4292-AD5A-AF22084C22D8}" type="pres">
      <dgm:prSet presAssocID="{E3C4B139-2F6F-4E01-8D9D-D3B1373C1758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583AEFC-EF4A-47B4-9085-618F3C8E1E02}" type="presOf" srcId="{F1B1CA83-4CA0-4928-AFE2-87F22E76A5EC}" destId="{DFE868BA-8394-4EA7-BDAA-C56F0FB1B508}" srcOrd="0" destOrd="0" presId="urn:microsoft.com/office/officeart/2005/8/layout/chevron1"/>
    <dgm:cxn modelId="{7C35C645-AA67-4917-8960-21416BF7A3C5}" srcId="{4AB51621-D043-49A1-B7F8-ED7CDBBB14F1}" destId="{E3C4B139-2F6F-4E01-8D9D-D3B1373C1758}" srcOrd="5" destOrd="0" parTransId="{6F1A42A0-EC77-4582-915C-C3F96AA58228}" sibTransId="{6A44D978-C19D-4CD4-A88E-599F9796E4FA}"/>
    <dgm:cxn modelId="{F5F98CE9-8211-43CA-AF25-04508591C4E2}" srcId="{4AB51621-D043-49A1-B7F8-ED7CDBBB14F1}" destId="{F1B1CA83-4CA0-4928-AFE2-87F22E76A5EC}" srcOrd="0" destOrd="0" parTransId="{EF52C00B-F0EF-4997-BB54-C3CE4DAB5256}" sibTransId="{34427F33-3E19-4666-897F-0813D36B0B82}"/>
    <dgm:cxn modelId="{CA1B6FFB-41EA-410D-981C-7875008E77CD}" type="presOf" srcId="{B37954AA-5BB5-49E1-BEDF-8B4CE755CD61}" destId="{08863FA9-998C-4607-8280-2F305D718F2F}" srcOrd="0" destOrd="0" presId="urn:microsoft.com/office/officeart/2005/8/layout/chevron1"/>
    <dgm:cxn modelId="{AC2FAC62-0BC6-41A6-BF58-B70AC09EB5BF}" srcId="{4AB51621-D043-49A1-B7F8-ED7CDBBB14F1}" destId="{B37954AA-5BB5-49E1-BEDF-8B4CE755CD61}" srcOrd="4" destOrd="0" parTransId="{5622E69A-4EBF-4311-BE92-C8E46C0FC81D}" sibTransId="{9CEAD65F-FBB6-4416-995E-77C93F2966A4}"/>
    <dgm:cxn modelId="{80CC6533-4721-4BF9-9EC6-0E2A67A5E887}" srcId="{4AB51621-D043-49A1-B7F8-ED7CDBBB14F1}" destId="{66A72527-3B9D-4635-AB5C-89BE27C52D87}" srcOrd="3" destOrd="0" parTransId="{4E555D4E-C3CF-46EE-9569-A5F819B58B19}" sibTransId="{68349DF9-4804-4F16-8A7F-3728344AFDC1}"/>
    <dgm:cxn modelId="{CA224130-CD4D-46CB-9CE1-1BE4084452F0}" type="presOf" srcId="{66A72527-3B9D-4635-AB5C-89BE27C52D87}" destId="{1B6FF7A9-07F9-428D-8190-9808CDBB4DE5}" srcOrd="0" destOrd="0" presId="urn:microsoft.com/office/officeart/2005/8/layout/chevron1"/>
    <dgm:cxn modelId="{30A21393-0C86-4BA4-9147-00B2DB2C36F8}" type="presOf" srcId="{DEC7F055-1876-4E3B-BC7F-7C4BFF22E0E1}" destId="{E22A3F48-5724-42B2-ACDE-11416077EF4D}" srcOrd="0" destOrd="0" presId="urn:microsoft.com/office/officeart/2005/8/layout/chevron1"/>
    <dgm:cxn modelId="{FED1EF1F-529B-4363-91B9-9390E0B352C7}" srcId="{4AB51621-D043-49A1-B7F8-ED7CDBBB14F1}" destId="{5C103F7D-4AE8-49BB-A2A7-A1C799EEC0B3}" srcOrd="1" destOrd="0" parTransId="{4C9C5715-256D-4A59-81C9-D273971A27B0}" sibTransId="{1807D0D3-ADD6-424A-B22C-29BEC4A1812F}"/>
    <dgm:cxn modelId="{E68CFB37-383B-451A-AA20-9EA4721FA46C}" type="presOf" srcId="{4AB51621-D043-49A1-B7F8-ED7CDBBB14F1}" destId="{6062F6BE-2896-4EB0-8FE5-C646E5D24FDF}" srcOrd="0" destOrd="0" presId="urn:microsoft.com/office/officeart/2005/8/layout/chevron1"/>
    <dgm:cxn modelId="{B1FD77D0-2914-4DE3-8525-B6B129E6FF6E}" type="presOf" srcId="{5C103F7D-4AE8-49BB-A2A7-A1C799EEC0B3}" destId="{D16E3EC5-CDED-4DA0-8C80-1F8A09EF5EE4}" srcOrd="0" destOrd="0" presId="urn:microsoft.com/office/officeart/2005/8/layout/chevron1"/>
    <dgm:cxn modelId="{087548FE-2964-4649-805F-06EDE0981DE6}" type="presOf" srcId="{E3C4B139-2F6F-4E01-8D9D-D3B1373C1758}" destId="{9F67105C-2F0D-4292-AD5A-AF22084C22D8}" srcOrd="0" destOrd="0" presId="urn:microsoft.com/office/officeart/2005/8/layout/chevron1"/>
    <dgm:cxn modelId="{D4522139-56D8-475D-B49D-E37BD0F210BE}" srcId="{4AB51621-D043-49A1-B7F8-ED7CDBBB14F1}" destId="{DEC7F055-1876-4E3B-BC7F-7C4BFF22E0E1}" srcOrd="2" destOrd="0" parTransId="{6CD033D7-F7C3-4B15-981C-19217CD47035}" sibTransId="{38544BFD-931E-4D03-9C17-FD73405D342C}"/>
    <dgm:cxn modelId="{C23424C7-1CDF-479C-A68A-2AD20E87410B}" type="presParOf" srcId="{6062F6BE-2896-4EB0-8FE5-C646E5D24FDF}" destId="{DFE868BA-8394-4EA7-BDAA-C56F0FB1B508}" srcOrd="0" destOrd="0" presId="urn:microsoft.com/office/officeart/2005/8/layout/chevron1"/>
    <dgm:cxn modelId="{3983D742-991C-49CB-9B52-0F7DDA96B821}" type="presParOf" srcId="{6062F6BE-2896-4EB0-8FE5-C646E5D24FDF}" destId="{252A59EA-56CB-4476-9AC8-E8ADF5E30A12}" srcOrd="1" destOrd="0" presId="urn:microsoft.com/office/officeart/2005/8/layout/chevron1"/>
    <dgm:cxn modelId="{EA479CFB-FB4F-4F43-81E0-DEF1CBEDDAD6}" type="presParOf" srcId="{6062F6BE-2896-4EB0-8FE5-C646E5D24FDF}" destId="{D16E3EC5-CDED-4DA0-8C80-1F8A09EF5EE4}" srcOrd="2" destOrd="0" presId="urn:microsoft.com/office/officeart/2005/8/layout/chevron1"/>
    <dgm:cxn modelId="{F36F2416-A065-446C-AABC-3D30670E5BAE}" type="presParOf" srcId="{6062F6BE-2896-4EB0-8FE5-C646E5D24FDF}" destId="{42E639A7-13FB-48E3-AD66-F312C864F632}" srcOrd="3" destOrd="0" presId="urn:microsoft.com/office/officeart/2005/8/layout/chevron1"/>
    <dgm:cxn modelId="{FA17EAED-E336-43C1-909D-8E2C8317DABE}" type="presParOf" srcId="{6062F6BE-2896-4EB0-8FE5-C646E5D24FDF}" destId="{E22A3F48-5724-42B2-ACDE-11416077EF4D}" srcOrd="4" destOrd="0" presId="urn:microsoft.com/office/officeart/2005/8/layout/chevron1"/>
    <dgm:cxn modelId="{5C345BA5-A9BB-4ABF-B772-B0E6EA43A4CA}" type="presParOf" srcId="{6062F6BE-2896-4EB0-8FE5-C646E5D24FDF}" destId="{FCE4427F-0AFA-4E20-B1FB-990447C0C996}" srcOrd="5" destOrd="0" presId="urn:microsoft.com/office/officeart/2005/8/layout/chevron1"/>
    <dgm:cxn modelId="{2B971DB7-D140-41EA-912D-5E147965401D}" type="presParOf" srcId="{6062F6BE-2896-4EB0-8FE5-C646E5D24FDF}" destId="{1B6FF7A9-07F9-428D-8190-9808CDBB4DE5}" srcOrd="6" destOrd="0" presId="urn:microsoft.com/office/officeart/2005/8/layout/chevron1"/>
    <dgm:cxn modelId="{31A8C303-C333-47D6-AA14-C090184E479F}" type="presParOf" srcId="{6062F6BE-2896-4EB0-8FE5-C646E5D24FDF}" destId="{66EBE329-27A3-4F30-B852-17E9B805AD94}" srcOrd="7" destOrd="0" presId="urn:microsoft.com/office/officeart/2005/8/layout/chevron1"/>
    <dgm:cxn modelId="{6B98D339-8A40-4DCB-B7A0-92B15B61E763}" type="presParOf" srcId="{6062F6BE-2896-4EB0-8FE5-C646E5D24FDF}" destId="{08863FA9-998C-4607-8280-2F305D718F2F}" srcOrd="8" destOrd="0" presId="urn:microsoft.com/office/officeart/2005/8/layout/chevron1"/>
    <dgm:cxn modelId="{2F044448-1964-4C7C-BEA1-C35C4DC6454D}" type="presParOf" srcId="{6062F6BE-2896-4EB0-8FE5-C646E5D24FDF}" destId="{971ADF24-A8B1-4CA0-B16E-220842BDA9EE}" srcOrd="9" destOrd="0" presId="urn:microsoft.com/office/officeart/2005/8/layout/chevron1"/>
    <dgm:cxn modelId="{041ACACF-C4D3-4C64-81B1-E5D2E0FB3743}" type="presParOf" srcId="{6062F6BE-2896-4EB0-8FE5-C646E5D24FDF}" destId="{9F67105C-2F0D-4292-AD5A-AF22084C22D8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C2DC5E-A244-46A2-B2BC-E3A221DC9AA9}">
      <dsp:nvSpPr>
        <dsp:cNvPr id="0" name=""/>
        <dsp:cNvSpPr/>
      </dsp:nvSpPr>
      <dsp:spPr>
        <a:xfrm>
          <a:off x="2788" y="4257"/>
          <a:ext cx="1676752" cy="670701"/>
        </a:xfrm>
        <a:prstGeom prst="round2Same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35529" y="36998"/>
        <a:ext cx="1611270" cy="637960"/>
      </dsp:txXfrm>
    </dsp:sp>
    <dsp:sp modelId="{BF5852F9-82D0-45B9-B0EF-564637C00BA0}">
      <dsp:nvSpPr>
        <dsp:cNvPr id="0" name=""/>
        <dsp:cNvSpPr/>
      </dsp:nvSpPr>
      <dsp:spPr>
        <a:xfrm>
          <a:off x="2788" y="674958"/>
          <a:ext cx="1676752" cy="1625040"/>
        </a:xfrm>
        <a:prstGeom prst="rect">
          <a:avLst/>
        </a:prstGeom>
        <a:solidFill>
          <a:schemeClr val="bg1">
            <a:lumMod val="75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788" y="674958"/>
        <a:ext cx="1676752" cy="1625040"/>
      </dsp:txXfrm>
    </dsp:sp>
    <dsp:sp modelId="{2A6F4C5D-4D26-4A56-8B6D-40BCE6B59A1E}">
      <dsp:nvSpPr>
        <dsp:cNvPr id="0" name=""/>
        <dsp:cNvSpPr/>
      </dsp:nvSpPr>
      <dsp:spPr>
        <a:xfrm>
          <a:off x="1914286" y="4257"/>
          <a:ext cx="1676752" cy="670701"/>
        </a:xfrm>
        <a:prstGeom prst="round2Same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1947027" y="36998"/>
        <a:ext cx="1611270" cy="637960"/>
      </dsp:txXfrm>
    </dsp:sp>
    <dsp:sp modelId="{7A4AE2A0-99B1-4BEB-9612-D83C797BED57}">
      <dsp:nvSpPr>
        <dsp:cNvPr id="0" name=""/>
        <dsp:cNvSpPr/>
      </dsp:nvSpPr>
      <dsp:spPr>
        <a:xfrm>
          <a:off x="1914286" y="674958"/>
          <a:ext cx="1676752" cy="1625040"/>
        </a:xfrm>
        <a:prstGeom prst="rect">
          <a:avLst/>
        </a:prstGeom>
        <a:solidFill>
          <a:schemeClr val="bg1">
            <a:lumMod val="75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914286" y="674958"/>
        <a:ext cx="1676752" cy="1625040"/>
      </dsp:txXfrm>
    </dsp:sp>
    <dsp:sp modelId="{F6B1D3C8-C8A0-4441-9E31-BE464389B62D}">
      <dsp:nvSpPr>
        <dsp:cNvPr id="0" name=""/>
        <dsp:cNvSpPr/>
      </dsp:nvSpPr>
      <dsp:spPr>
        <a:xfrm>
          <a:off x="3825784" y="4257"/>
          <a:ext cx="1676752" cy="670701"/>
        </a:xfrm>
        <a:prstGeom prst="round2Same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3858525" y="36998"/>
        <a:ext cx="1611270" cy="637960"/>
      </dsp:txXfrm>
    </dsp:sp>
    <dsp:sp modelId="{D2F06612-FE5C-42BD-BC7F-A46A9F480216}">
      <dsp:nvSpPr>
        <dsp:cNvPr id="0" name=""/>
        <dsp:cNvSpPr/>
      </dsp:nvSpPr>
      <dsp:spPr>
        <a:xfrm>
          <a:off x="3825784" y="674958"/>
          <a:ext cx="1676752" cy="1625040"/>
        </a:xfrm>
        <a:prstGeom prst="rect">
          <a:avLst/>
        </a:prstGeom>
        <a:solidFill>
          <a:schemeClr val="bg1">
            <a:lumMod val="75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825784" y="674958"/>
        <a:ext cx="1676752" cy="1625040"/>
      </dsp:txXfrm>
    </dsp:sp>
    <dsp:sp modelId="{5B279791-A258-4CFB-951A-BF02B66FD081}">
      <dsp:nvSpPr>
        <dsp:cNvPr id="0" name=""/>
        <dsp:cNvSpPr/>
      </dsp:nvSpPr>
      <dsp:spPr>
        <a:xfrm>
          <a:off x="5737282" y="4257"/>
          <a:ext cx="1676752" cy="670701"/>
        </a:xfrm>
        <a:prstGeom prst="round2Same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5770023" y="36998"/>
        <a:ext cx="1611270" cy="637960"/>
      </dsp:txXfrm>
    </dsp:sp>
    <dsp:sp modelId="{9EB3152B-9897-4A07-865A-9E5405D3C812}">
      <dsp:nvSpPr>
        <dsp:cNvPr id="0" name=""/>
        <dsp:cNvSpPr/>
      </dsp:nvSpPr>
      <dsp:spPr>
        <a:xfrm>
          <a:off x="5737282" y="674958"/>
          <a:ext cx="1676752" cy="1625040"/>
        </a:xfrm>
        <a:prstGeom prst="rect">
          <a:avLst/>
        </a:prstGeom>
        <a:solidFill>
          <a:schemeClr val="bg1">
            <a:lumMod val="75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737282" y="674958"/>
        <a:ext cx="1676752" cy="16250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68C50E-6AB4-4671-87F9-731C49D0E17D}">
      <dsp:nvSpPr>
        <dsp:cNvPr id="0" name=""/>
        <dsp:cNvSpPr/>
      </dsp:nvSpPr>
      <dsp:spPr>
        <a:xfrm>
          <a:off x="1788" y="0"/>
          <a:ext cx="1754614" cy="2304256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1788" y="0"/>
        <a:ext cx="1754614" cy="691276"/>
      </dsp:txXfrm>
    </dsp:sp>
    <dsp:sp modelId="{E7D2F0AA-D9EB-4C14-880F-561C9D14F040}">
      <dsp:nvSpPr>
        <dsp:cNvPr id="0" name=""/>
        <dsp:cNvSpPr/>
      </dsp:nvSpPr>
      <dsp:spPr>
        <a:xfrm>
          <a:off x="177249" y="691712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85057" y="699520"/>
        <a:ext cx="1388075" cy="250954"/>
      </dsp:txXfrm>
    </dsp:sp>
    <dsp:sp modelId="{D38A896C-E035-4A0D-AEEC-C14C4F2B4E5E}">
      <dsp:nvSpPr>
        <dsp:cNvPr id="0" name=""/>
        <dsp:cNvSpPr/>
      </dsp:nvSpPr>
      <dsp:spPr>
        <a:xfrm>
          <a:off x="177249" y="999293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85057" y="1007101"/>
        <a:ext cx="1388075" cy="250954"/>
      </dsp:txXfrm>
    </dsp:sp>
    <dsp:sp modelId="{AB946072-964E-46FB-B00E-B671D230A5B5}">
      <dsp:nvSpPr>
        <dsp:cNvPr id="0" name=""/>
        <dsp:cNvSpPr/>
      </dsp:nvSpPr>
      <dsp:spPr>
        <a:xfrm>
          <a:off x="177249" y="1306874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85057" y="1314682"/>
        <a:ext cx="1388075" cy="250954"/>
      </dsp:txXfrm>
    </dsp:sp>
    <dsp:sp modelId="{EB482840-0DCD-403B-9815-18CD7D216535}">
      <dsp:nvSpPr>
        <dsp:cNvPr id="0" name=""/>
        <dsp:cNvSpPr/>
      </dsp:nvSpPr>
      <dsp:spPr>
        <a:xfrm>
          <a:off x="177249" y="1614455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85057" y="1622263"/>
        <a:ext cx="1388075" cy="250954"/>
      </dsp:txXfrm>
    </dsp:sp>
    <dsp:sp modelId="{684FCDCE-4758-455E-8FA5-FE278751D06B}">
      <dsp:nvSpPr>
        <dsp:cNvPr id="0" name=""/>
        <dsp:cNvSpPr/>
      </dsp:nvSpPr>
      <dsp:spPr>
        <a:xfrm>
          <a:off x="177249" y="1922036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185057" y="1929844"/>
        <a:ext cx="1388075" cy="250954"/>
      </dsp:txXfrm>
    </dsp:sp>
    <dsp:sp modelId="{C96E62EC-28BD-423B-9860-1BBC16FA9872}">
      <dsp:nvSpPr>
        <dsp:cNvPr id="0" name=""/>
        <dsp:cNvSpPr/>
      </dsp:nvSpPr>
      <dsp:spPr>
        <a:xfrm>
          <a:off x="1887999" y="0"/>
          <a:ext cx="1754614" cy="2304256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1887999" y="0"/>
        <a:ext cx="1754614" cy="691276"/>
      </dsp:txXfrm>
    </dsp:sp>
    <dsp:sp modelId="{96DE18F9-2DCE-4937-8163-D1E13AACF241}">
      <dsp:nvSpPr>
        <dsp:cNvPr id="0" name=""/>
        <dsp:cNvSpPr/>
      </dsp:nvSpPr>
      <dsp:spPr>
        <a:xfrm>
          <a:off x="2063460" y="691712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071268" y="699520"/>
        <a:ext cx="1388075" cy="250954"/>
      </dsp:txXfrm>
    </dsp:sp>
    <dsp:sp modelId="{565D8193-B6B5-47C3-99AC-F7AC37EFDBE8}">
      <dsp:nvSpPr>
        <dsp:cNvPr id="0" name=""/>
        <dsp:cNvSpPr/>
      </dsp:nvSpPr>
      <dsp:spPr>
        <a:xfrm>
          <a:off x="2063460" y="999293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071268" y="1007101"/>
        <a:ext cx="1388075" cy="250954"/>
      </dsp:txXfrm>
    </dsp:sp>
    <dsp:sp modelId="{0FA47683-0BE1-4659-B2D3-2996F25F5931}">
      <dsp:nvSpPr>
        <dsp:cNvPr id="0" name=""/>
        <dsp:cNvSpPr/>
      </dsp:nvSpPr>
      <dsp:spPr>
        <a:xfrm>
          <a:off x="2063460" y="1306874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071268" y="1314682"/>
        <a:ext cx="1388075" cy="250954"/>
      </dsp:txXfrm>
    </dsp:sp>
    <dsp:sp modelId="{5D0D4077-11F8-482A-9E72-54CBB6037676}">
      <dsp:nvSpPr>
        <dsp:cNvPr id="0" name=""/>
        <dsp:cNvSpPr/>
      </dsp:nvSpPr>
      <dsp:spPr>
        <a:xfrm>
          <a:off x="2063460" y="1614455"/>
          <a:ext cx="1403691" cy="26657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071268" y="1622263"/>
        <a:ext cx="1388075" cy="250954"/>
      </dsp:txXfrm>
    </dsp:sp>
    <dsp:sp modelId="{402E758E-0AAE-4E4D-81E3-A473C031B568}">
      <dsp:nvSpPr>
        <dsp:cNvPr id="0" name=""/>
        <dsp:cNvSpPr/>
      </dsp:nvSpPr>
      <dsp:spPr>
        <a:xfrm>
          <a:off x="2063460" y="1922036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2071268" y="1929844"/>
        <a:ext cx="1388075" cy="250954"/>
      </dsp:txXfrm>
    </dsp:sp>
    <dsp:sp modelId="{7C211B65-5751-4BEB-919D-64C70DBB3D78}">
      <dsp:nvSpPr>
        <dsp:cNvPr id="0" name=""/>
        <dsp:cNvSpPr/>
      </dsp:nvSpPr>
      <dsp:spPr>
        <a:xfrm>
          <a:off x="3774210" y="0"/>
          <a:ext cx="1754614" cy="2304256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3774210" y="0"/>
        <a:ext cx="1754614" cy="691276"/>
      </dsp:txXfrm>
    </dsp:sp>
    <dsp:sp modelId="{06ECEB97-9E58-4272-AAAD-64B8D1AF7928}">
      <dsp:nvSpPr>
        <dsp:cNvPr id="0" name=""/>
        <dsp:cNvSpPr/>
      </dsp:nvSpPr>
      <dsp:spPr>
        <a:xfrm>
          <a:off x="3949671" y="691712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957479" y="699520"/>
        <a:ext cx="1388075" cy="250954"/>
      </dsp:txXfrm>
    </dsp:sp>
    <dsp:sp modelId="{EF318ED2-C46A-4542-83EA-DB766FF1788B}">
      <dsp:nvSpPr>
        <dsp:cNvPr id="0" name=""/>
        <dsp:cNvSpPr/>
      </dsp:nvSpPr>
      <dsp:spPr>
        <a:xfrm>
          <a:off x="3949671" y="999293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957479" y="1007101"/>
        <a:ext cx="1388075" cy="250954"/>
      </dsp:txXfrm>
    </dsp:sp>
    <dsp:sp modelId="{4FB9B4E7-D4A5-4752-B50A-B9383083D638}">
      <dsp:nvSpPr>
        <dsp:cNvPr id="0" name=""/>
        <dsp:cNvSpPr/>
      </dsp:nvSpPr>
      <dsp:spPr>
        <a:xfrm>
          <a:off x="3949671" y="1306874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957479" y="1314682"/>
        <a:ext cx="1388075" cy="250954"/>
      </dsp:txXfrm>
    </dsp:sp>
    <dsp:sp modelId="{9FB76DD2-CA04-4D0E-94FD-80DEB4F83AAF}">
      <dsp:nvSpPr>
        <dsp:cNvPr id="0" name=""/>
        <dsp:cNvSpPr/>
      </dsp:nvSpPr>
      <dsp:spPr>
        <a:xfrm>
          <a:off x="3949671" y="1614455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957479" y="1622263"/>
        <a:ext cx="1388075" cy="250954"/>
      </dsp:txXfrm>
    </dsp:sp>
    <dsp:sp modelId="{C497E1DD-94FA-4F95-A288-F9E939A3669D}">
      <dsp:nvSpPr>
        <dsp:cNvPr id="0" name=""/>
        <dsp:cNvSpPr/>
      </dsp:nvSpPr>
      <dsp:spPr>
        <a:xfrm>
          <a:off x="3949671" y="1922036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3957479" y="1929844"/>
        <a:ext cx="1388075" cy="250954"/>
      </dsp:txXfrm>
    </dsp:sp>
    <dsp:sp modelId="{11495438-4C61-4BED-9D99-24AAEBD7D98B}">
      <dsp:nvSpPr>
        <dsp:cNvPr id="0" name=""/>
        <dsp:cNvSpPr/>
      </dsp:nvSpPr>
      <dsp:spPr>
        <a:xfrm>
          <a:off x="5660421" y="0"/>
          <a:ext cx="1754614" cy="2304256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xt</a:t>
          </a:r>
          <a:endParaRPr lang="de-DE" sz="1500" b="1" kern="1200" dirty="0"/>
        </a:p>
      </dsp:txBody>
      <dsp:txXfrm>
        <a:off x="5660421" y="0"/>
        <a:ext cx="1754614" cy="691276"/>
      </dsp:txXfrm>
    </dsp:sp>
    <dsp:sp modelId="{8E129E1D-68C2-4DD4-A073-E245B864432D}">
      <dsp:nvSpPr>
        <dsp:cNvPr id="0" name=""/>
        <dsp:cNvSpPr/>
      </dsp:nvSpPr>
      <dsp:spPr>
        <a:xfrm>
          <a:off x="5835882" y="691712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843690" y="699520"/>
        <a:ext cx="1388075" cy="250954"/>
      </dsp:txXfrm>
    </dsp:sp>
    <dsp:sp modelId="{896F9CB2-8118-410D-9865-D22FE62C081A}">
      <dsp:nvSpPr>
        <dsp:cNvPr id="0" name=""/>
        <dsp:cNvSpPr/>
      </dsp:nvSpPr>
      <dsp:spPr>
        <a:xfrm>
          <a:off x="5835882" y="999293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843690" y="1007101"/>
        <a:ext cx="1388075" cy="250954"/>
      </dsp:txXfrm>
    </dsp:sp>
    <dsp:sp modelId="{8FF8F574-28A0-4908-873D-ECC51206F5CD}">
      <dsp:nvSpPr>
        <dsp:cNvPr id="0" name=""/>
        <dsp:cNvSpPr/>
      </dsp:nvSpPr>
      <dsp:spPr>
        <a:xfrm>
          <a:off x="5835882" y="1306874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843690" y="1314682"/>
        <a:ext cx="1388075" cy="250954"/>
      </dsp:txXfrm>
    </dsp:sp>
    <dsp:sp modelId="{48C62D5D-D73D-47B9-B5D4-C8D89C9C5E41}">
      <dsp:nvSpPr>
        <dsp:cNvPr id="0" name=""/>
        <dsp:cNvSpPr/>
      </dsp:nvSpPr>
      <dsp:spPr>
        <a:xfrm>
          <a:off x="5835882" y="1614455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843690" y="1622263"/>
        <a:ext cx="1388075" cy="250954"/>
      </dsp:txXfrm>
    </dsp:sp>
    <dsp:sp modelId="{7F5B9D31-6923-4101-B00A-95121B75CFDB}">
      <dsp:nvSpPr>
        <dsp:cNvPr id="0" name=""/>
        <dsp:cNvSpPr/>
      </dsp:nvSpPr>
      <dsp:spPr>
        <a:xfrm>
          <a:off x="5835882" y="1922036"/>
          <a:ext cx="1403691" cy="266570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/>
            <a:t>Text</a:t>
          </a:r>
          <a:endParaRPr lang="de-DE" sz="1500" kern="1200" dirty="0"/>
        </a:p>
      </dsp:txBody>
      <dsp:txXfrm>
        <a:off x="5843690" y="1929844"/>
        <a:ext cx="1388075" cy="2509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A3B28A-864E-4FA4-B94C-9E76EB5F7DE4}">
      <dsp:nvSpPr>
        <dsp:cNvPr id="0" name=""/>
        <dsp:cNvSpPr/>
      </dsp:nvSpPr>
      <dsp:spPr>
        <a:xfrm>
          <a:off x="1411427" y="264159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/>
        </a:p>
      </dsp:txBody>
      <dsp:txXfrm>
        <a:off x="3210560" y="987551"/>
        <a:ext cx="1219200" cy="1016000"/>
      </dsp:txXfrm>
    </dsp:sp>
    <dsp:sp modelId="{A195242F-52A3-419D-AF01-50DE218D0E6E}">
      <dsp:nvSpPr>
        <dsp:cNvPr id="0" name=""/>
        <dsp:cNvSpPr/>
      </dsp:nvSpPr>
      <dsp:spPr>
        <a:xfrm>
          <a:off x="1341120" y="386079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/>
        </a:p>
      </dsp:txBody>
      <dsp:txXfrm>
        <a:off x="2153920" y="2600960"/>
        <a:ext cx="1828800" cy="894080"/>
      </dsp:txXfrm>
    </dsp:sp>
    <dsp:sp modelId="{961CC3D9-2C20-48C1-90F2-862CA96D3D25}">
      <dsp:nvSpPr>
        <dsp:cNvPr id="0" name=""/>
        <dsp:cNvSpPr/>
      </dsp:nvSpPr>
      <dsp:spPr>
        <a:xfrm>
          <a:off x="1270812" y="264159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/>
        </a:p>
      </dsp:txBody>
      <dsp:txXfrm>
        <a:off x="1666240" y="987551"/>
        <a:ext cx="1219200" cy="1016000"/>
      </dsp:txXfrm>
    </dsp:sp>
    <dsp:sp modelId="{886716D3-9E01-4B1F-B3ED-00FCFC92F2C6}">
      <dsp:nvSpPr>
        <dsp:cNvPr id="0" name=""/>
        <dsp:cNvSpPr/>
      </dsp:nvSpPr>
      <dsp:spPr>
        <a:xfrm>
          <a:off x="1200380" y="52831"/>
          <a:ext cx="3836416" cy="38364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266FB6-5E72-4ACE-BADC-9151A3FBAB94}">
      <dsp:nvSpPr>
        <dsp:cNvPr id="0" name=""/>
        <dsp:cNvSpPr/>
      </dsp:nvSpPr>
      <dsp:spPr>
        <a:xfrm>
          <a:off x="1129792" y="174536"/>
          <a:ext cx="3836416" cy="38364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7AE738-82E9-4591-99BF-49663DF25FEB}">
      <dsp:nvSpPr>
        <dsp:cNvPr id="0" name=""/>
        <dsp:cNvSpPr/>
      </dsp:nvSpPr>
      <dsp:spPr>
        <a:xfrm>
          <a:off x="1059203" y="52831"/>
          <a:ext cx="3836416" cy="38364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F7F1A4-8FF0-4C02-A1BB-BACD7B6939ED}">
      <dsp:nvSpPr>
        <dsp:cNvPr id="0" name=""/>
        <dsp:cNvSpPr/>
      </dsp:nvSpPr>
      <dsp:spPr>
        <a:xfrm>
          <a:off x="1618579" y="280484"/>
          <a:ext cx="3998841" cy="3998841"/>
        </a:xfrm>
        <a:prstGeom prst="pie">
          <a:avLst>
            <a:gd name="adj1" fmla="val 16200000"/>
            <a:gd name="adj2" fmla="val 198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3713210" y="791289"/>
        <a:ext cx="1047315" cy="809289"/>
      </dsp:txXfrm>
    </dsp:sp>
    <dsp:sp modelId="{74947347-F23C-405F-A9D2-63E618A9DE8E}">
      <dsp:nvSpPr>
        <dsp:cNvPr id="0" name=""/>
        <dsp:cNvSpPr/>
      </dsp:nvSpPr>
      <dsp:spPr>
        <a:xfrm>
          <a:off x="1666184" y="362842"/>
          <a:ext cx="3998841" cy="3998841"/>
        </a:xfrm>
        <a:prstGeom prst="pie">
          <a:avLst>
            <a:gd name="adj1" fmla="val 19800000"/>
            <a:gd name="adj2" fmla="val 18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4379684" y="1981420"/>
        <a:ext cx="1094920" cy="785486"/>
      </dsp:txXfrm>
    </dsp:sp>
    <dsp:sp modelId="{B0C8B7AA-2A2F-4830-8EC2-EDC04EC0ECF4}">
      <dsp:nvSpPr>
        <dsp:cNvPr id="0" name=""/>
        <dsp:cNvSpPr/>
      </dsp:nvSpPr>
      <dsp:spPr>
        <a:xfrm>
          <a:off x="1618579" y="445199"/>
          <a:ext cx="3998841" cy="3998841"/>
        </a:xfrm>
        <a:prstGeom prst="pie">
          <a:avLst>
            <a:gd name="adj1" fmla="val 1800000"/>
            <a:gd name="adj2" fmla="val 54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3713210" y="3147749"/>
        <a:ext cx="1047315" cy="809289"/>
      </dsp:txXfrm>
    </dsp:sp>
    <dsp:sp modelId="{77E357C4-83D0-4412-BBCB-628025E25FDD}">
      <dsp:nvSpPr>
        <dsp:cNvPr id="0" name=""/>
        <dsp:cNvSpPr/>
      </dsp:nvSpPr>
      <dsp:spPr>
        <a:xfrm>
          <a:off x="1523368" y="445199"/>
          <a:ext cx="3998841" cy="3998841"/>
        </a:xfrm>
        <a:prstGeom prst="pie">
          <a:avLst>
            <a:gd name="adj1" fmla="val 5400000"/>
            <a:gd name="adj2" fmla="val 90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2380263" y="3147749"/>
        <a:ext cx="1047315" cy="809289"/>
      </dsp:txXfrm>
    </dsp:sp>
    <dsp:sp modelId="{2FF1BAF5-754B-46B7-9CEE-FDBB42AF8EFF}">
      <dsp:nvSpPr>
        <dsp:cNvPr id="0" name=""/>
        <dsp:cNvSpPr/>
      </dsp:nvSpPr>
      <dsp:spPr>
        <a:xfrm>
          <a:off x="1475763" y="362842"/>
          <a:ext cx="3998841" cy="3998841"/>
        </a:xfrm>
        <a:prstGeom prst="pie">
          <a:avLst>
            <a:gd name="adj1" fmla="val 9000000"/>
            <a:gd name="adj2" fmla="val 126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1666184" y="1981420"/>
        <a:ext cx="1094920" cy="785486"/>
      </dsp:txXfrm>
    </dsp:sp>
    <dsp:sp modelId="{F996F38F-2A13-4989-9374-B375F48FBD48}">
      <dsp:nvSpPr>
        <dsp:cNvPr id="0" name=""/>
        <dsp:cNvSpPr/>
      </dsp:nvSpPr>
      <dsp:spPr>
        <a:xfrm>
          <a:off x="1523368" y="280484"/>
          <a:ext cx="3998841" cy="3998841"/>
        </a:xfrm>
        <a:prstGeom prst="pie">
          <a:avLst>
            <a:gd name="adj1" fmla="val 12600000"/>
            <a:gd name="adj2" fmla="val 16200000"/>
          </a:avLst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b="1" kern="1200" dirty="0" smtClean="0">
              <a:solidFill>
                <a:schemeClr val="bg1"/>
              </a:solidFill>
            </a:rPr>
            <a:t>Text</a:t>
          </a:r>
          <a:endParaRPr lang="de-DE" sz="2500" b="1" kern="1200" dirty="0">
            <a:solidFill>
              <a:schemeClr val="bg1"/>
            </a:solidFill>
          </a:endParaRPr>
        </a:p>
      </dsp:txBody>
      <dsp:txXfrm>
        <a:off x="2380263" y="791289"/>
        <a:ext cx="1047315" cy="809289"/>
      </dsp:txXfrm>
    </dsp:sp>
    <dsp:sp modelId="{B13ADEFA-9726-4101-A8AB-FDF078D4433A}">
      <dsp:nvSpPr>
        <dsp:cNvPr id="0" name=""/>
        <dsp:cNvSpPr/>
      </dsp:nvSpPr>
      <dsp:spPr>
        <a:xfrm>
          <a:off x="1370885" y="32937"/>
          <a:ext cx="4493936" cy="4493936"/>
        </a:xfrm>
        <a:prstGeom prst="circularArrow">
          <a:avLst>
            <a:gd name="adj1" fmla="val 5085"/>
            <a:gd name="adj2" fmla="val 327528"/>
            <a:gd name="adj3" fmla="val 19472472"/>
            <a:gd name="adj4" fmla="val 16200251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AC05DC-D8D1-4B57-8DF5-8D83D79DCACF}">
      <dsp:nvSpPr>
        <dsp:cNvPr id="0" name=""/>
        <dsp:cNvSpPr/>
      </dsp:nvSpPr>
      <dsp:spPr>
        <a:xfrm>
          <a:off x="1418491" y="115294"/>
          <a:ext cx="4493936" cy="4493936"/>
        </a:xfrm>
        <a:prstGeom prst="circularArrow">
          <a:avLst>
            <a:gd name="adj1" fmla="val 5085"/>
            <a:gd name="adj2" fmla="val 327528"/>
            <a:gd name="adj3" fmla="val 1472472"/>
            <a:gd name="adj4" fmla="val 19800000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73A5C9-1E19-43A4-8F47-77A2BA6F511E}">
      <dsp:nvSpPr>
        <dsp:cNvPr id="0" name=""/>
        <dsp:cNvSpPr/>
      </dsp:nvSpPr>
      <dsp:spPr>
        <a:xfrm>
          <a:off x="1370885" y="197651"/>
          <a:ext cx="4493936" cy="4493936"/>
        </a:xfrm>
        <a:prstGeom prst="circularArrow">
          <a:avLst>
            <a:gd name="adj1" fmla="val 5085"/>
            <a:gd name="adj2" fmla="val 327528"/>
            <a:gd name="adj3" fmla="val 5072221"/>
            <a:gd name="adj4" fmla="val 1800000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CE4064-FFFD-4A51-9F1E-C3BE04400F16}">
      <dsp:nvSpPr>
        <dsp:cNvPr id="0" name=""/>
        <dsp:cNvSpPr/>
      </dsp:nvSpPr>
      <dsp:spPr>
        <a:xfrm>
          <a:off x="1275967" y="197651"/>
          <a:ext cx="4493936" cy="4493936"/>
        </a:xfrm>
        <a:prstGeom prst="circularArrow">
          <a:avLst>
            <a:gd name="adj1" fmla="val 5085"/>
            <a:gd name="adj2" fmla="val 327528"/>
            <a:gd name="adj3" fmla="val 8672472"/>
            <a:gd name="adj4" fmla="val 5400251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13EF87-3A57-4236-9C31-AD1936D3868F}">
      <dsp:nvSpPr>
        <dsp:cNvPr id="0" name=""/>
        <dsp:cNvSpPr/>
      </dsp:nvSpPr>
      <dsp:spPr>
        <a:xfrm>
          <a:off x="1228362" y="115294"/>
          <a:ext cx="4493936" cy="4493936"/>
        </a:xfrm>
        <a:prstGeom prst="circularArrow">
          <a:avLst>
            <a:gd name="adj1" fmla="val 5085"/>
            <a:gd name="adj2" fmla="val 327528"/>
            <a:gd name="adj3" fmla="val 12272472"/>
            <a:gd name="adj4" fmla="val 9000000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D82F76-F0D3-439E-BAE5-7C0D5DE22FCD}">
      <dsp:nvSpPr>
        <dsp:cNvPr id="0" name=""/>
        <dsp:cNvSpPr/>
      </dsp:nvSpPr>
      <dsp:spPr>
        <a:xfrm>
          <a:off x="1275967" y="32937"/>
          <a:ext cx="4493936" cy="4493936"/>
        </a:xfrm>
        <a:prstGeom prst="circularArrow">
          <a:avLst>
            <a:gd name="adj1" fmla="val 5085"/>
            <a:gd name="adj2" fmla="val 327528"/>
            <a:gd name="adj3" fmla="val 15872221"/>
            <a:gd name="adj4" fmla="val 12600000"/>
            <a:gd name="adj5" fmla="val 5932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A3ECEB-4958-4BAC-BD22-E105B1528B1A}">
      <dsp:nvSpPr>
        <dsp:cNvPr id="0" name=""/>
        <dsp:cNvSpPr/>
      </dsp:nvSpPr>
      <dsp:spPr>
        <a:xfrm>
          <a:off x="2447001" y="1580461"/>
          <a:ext cx="1201996" cy="1201996"/>
        </a:xfrm>
        <a:prstGeom prst="ellipse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2623029" y="1756489"/>
        <a:ext cx="849940" cy="849940"/>
      </dsp:txXfrm>
    </dsp:sp>
    <dsp:sp modelId="{25E0D703-55F6-4402-8A7E-FFF4F8F4D2E6}">
      <dsp:nvSpPr>
        <dsp:cNvPr id="0" name=""/>
        <dsp:cNvSpPr/>
      </dsp:nvSpPr>
      <dsp:spPr>
        <a:xfrm rot="16200000">
          <a:off x="2866418" y="1381133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000" b="1" kern="1200"/>
        </a:p>
      </dsp:txBody>
      <dsp:txXfrm>
        <a:off x="3038920" y="1389800"/>
        <a:ext cx="18158" cy="18158"/>
      </dsp:txXfrm>
    </dsp:sp>
    <dsp:sp modelId="{B91F8B60-A63F-4EB5-BF93-3DAFA129B02C}">
      <dsp:nvSpPr>
        <dsp:cNvPr id="0" name=""/>
        <dsp:cNvSpPr/>
      </dsp:nvSpPr>
      <dsp:spPr>
        <a:xfrm>
          <a:off x="2447001" y="15301"/>
          <a:ext cx="1201996" cy="1201996"/>
        </a:xfrm>
        <a:prstGeom prst="ellipse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2623029" y="191329"/>
        <a:ext cx="849940" cy="849940"/>
      </dsp:txXfrm>
    </dsp:sp>
    <dsp:sp modelId="{0F3C2A98-8983-4219-A751-46E9436338DB}">
      <dsp:nvSpPr>
        <dsp:cNvPr id="0" name=""/>
        <dsp:cNvSpPr/>
      </dsp:nvSpPr>
      <dsp:spPr>
        <a:xfrm rot="20520000">
          <a:off x="3610696" y="1921882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000" b="1" kern="1200"/>
        </a:p>
      </dsp:txBody>
      <dsp:txXfrm>
        <a:off x="3783198" y="1930549"/>
        <a:ext cx="18158" cy="18158"/>
      </dsp:txXfrm>
    </dsp:sp>
    <dsp:sp modelId="{4E63133D-444E-45B6-B0F7-34ED33EAE162}">
      <dsp:nvSpPr>
        <dsp:cNvPr id="0" name=""/>
        <dsp:cNvSpPr/>
      </dsp:nvSpPr>
      <dsp:spPr>
        <a:xfrm>
          <a:off x="3935557" y="1096800"/>
          <a:ext cx="1201996" cy="1201996"/>
        </a:xfrm>
        <a:prstGeom prst="ellipse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4111585" y="1272828"/>
        <a:ext cx="849940" cy="849940"/>
      </dsp:txXfrm>
    </dsp:sp>
    <dsp:sp modelId="{37179E7F-E6C6-436B-8FAE-AA200FAA5FEB}">
      <dsp:nvSpPr>
        <dsp:cNvPr id="0" name=""/>
        <dsp:cNvSpPr/>
      </dsp:nvSpPr>
      <dsp:spPr>
        <a:xfrm rot="3240000">
          <a:off x="3326407" y="2796833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000" b="1" kern="1200"/>
        </a:p>
      </dsp:txBody>
      <dsp:txXfrm>
        <a:off x="3498909" y="2805500"/>
        <a:ext cx="18158" cy="18158"/>
      </dsp:txXfrm>
    </dsp:sp>
    <dsp:sp modelId="{89E9B559-EDC8-466E-BDFB-3EC5017BD97C}">
      <dsp:nvSpPr>
        <dsp:cNvPr id="0" name=""/>
        <dsp:cNvSpPr/>
      </dsp:nvSpPr>
      <dsp:spPr>
        <a:xfrm>
          <a:off x="3366979" y="2846702"/>
          <a:ext cx="1201996" cy="1201996"/>
        </a:xfrm>
        <a:prstGeom prst="ellipse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3543007" y="3022730"/>
        <a:ext cx="849940" cy="849940"/>
      </dsp:txXfrm>
    </dsp:sp>
    <dsp:sp modelId="{2525E24F-A4C0-4675-A06B-CCFF4FE5C3CE}">
      <dsp:nvSpPr>
        <dsp:cNvPr id="0" name=""/>
        <dsp:cNvSpPr/>
      </dsp:nvSpPr>
      <dsp:spPr>
        <a:xfrm rot="7560000">
          <a:off x="2406429" y="2796833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000" b="1" kern="1200"/>
        </a:p>
      </dsp:txBody>
      <dsp:txXfrm rot="10800000">
        <a:off x="2578932" y="2805500"/>
        <a:ext cx="18158" cy="18158"/>
      </dsp:txXfrm>
    </dsp:sp>
    <dsp:sp modelId="{FE82B33A-7752-4764-8FAD-D701EC1ED685}">
      <dsp:nvSpPr>
        <dsp:cNvPr id="0" name=""/>
        <dsp:cNvSpPr/>
      </dsp:nvSpPr>
      <dsp:spPr>
        <a:xfrm>
          <a:off x="1527024" y="2846702"/>
          <a:ext cx="1201996" cy="1201996"/>
        </a:xfrm>
        <a:prstGeom prst="ellipse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1703052" y="3022730"/>
        <a:ext cx="849940" cy="849940"/>
      </dsp:txXfrm>
    </dsp:sp>
    <dsp:sp modelId="{DAF52163-06C9-4469-AC73-E74311FD8029}">
      <dsp:nvSpPr>
        <dsp:cNvPr id="0" name=""/>
        <dsp:cNvSpPr/>
      </dsp:nvSpPr>
      <dsp:spPr>
        <a:xfrm rot="11880000">
          <a:off x="2122140" y="1921882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000" b="1" kern="1200"/>
        </a:p>
      </dsp:txBody>
      <dsp:txXfrm rot="10800000">
        <a:off x="2294643" y="1930549"/>
        <a:ext cx="18158" cy="18158"/>
      </dsp:txXfrm>
    </dsp:sp>
    <dsp:sp modelId="{68D58502-64A5-4D3F-8685-EC589891B23F}">
      <dsp:nvSpPr>
        <dsp:cNvPr id="0" name=""/>
        <dsp:cNvSpPr/>
      </dsp:nvSpPr>
      <dsp:spPr>
        <a:xfrm>
          <a:off x="958446" y="1096800"/>
          <a:ext cx="1201996" cy="1201996"/>
        </a:xfrm>
        <a:prstGeom prst="ellipse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1134474" y="1272828"/>
        <a:ext cx="849940" cy="8499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AE218A-DB8B-4FE4-AFDB-769CB67272FA}">
      <dsp:nvSpPr>
        <dsp:cNvPr id="0" name=""/>
        <dsp:cNvSpPr/>
      </dsp:nvSpPr>
      <dsp:spPr>
        <a:xfrm>
          <a:off x="2639798" y="2074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2676433" y="38709"/>
        <a:ext cx="1081298" cy="677199"/>
      </dsp:txXfrm>
    </dsp:sp>
    <dsp:sp modelId="{234374EA-3F8B-4263-ADFF-9785F3D58647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2489796" y="154369"/>
              </a:moveTo>
              <a:arcTo wR="1767412" hR="1767412" stAng="17647481" swAng="923510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7ADD57-73B4-4556-852C-90287624A2B8}">
      <dsp:nvSpPr>
        <dsp:cNvPr id="0" name=""/>
        <dsp:cNvSpPr/>
      </dsp:nvSpPr>
      <dsp:spPr>
        <a:xfrm>
          <a:off x="4170423" y="885780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4207058" y="922415"/>
        <a:ext cx="1081298" cy="677199"/>
      </dsp:txXfrm>
    </dsp:sp>
    <dsp:sp modelId="{08FC8743-277C-4458-9E9C-536E7FAE5D1A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3507292" y="1456664"/>
              </a:moveTo>
              <a:arcTo wR="1767412" hR="1767412" stAng="20992414" swAng="1215173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821FF8-0C56-4B63-A802-6F80701DB73E}">
      <dsp:nvSpPr>
        <dsp:cNvPr id="0" name=""/>
        <dsp:cNvSpPr/>
      </dsp:nvSpPr>
      <dsp:spPr>
        <a:xfrm>
          <a:off x="4170423" y="2653193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4207058" y="2689828"/>
        <a:ext cx="1081298" cy="677199"/>
      </dsp:txXfrm>
    </dsp:sp>
    <dsp:sp modelId="{99706CBB-BE9C-41F0-BA80-84A361F7FF35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2892018" y="3130867"/>
              </a:moveTo>
              <a:arcTo wR="1767412" hR="1767412" stAng="3029009" swAng="923510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F8EDA6-00BA-4DB7-9D99-69A83D13A9B9}">
      <dsp:nvSpPr>
        <dsp:cNvPr id="0" name=""/>
        <dsp:cNvSpPr/>
      </dsp:nvSpPr>
      <dsp:spPr>
        <a:xfrm>
          <a:off x="2639798" y="3536899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2676433" y="3573534"/>
        <a:ext cx="1081298" cy="677199"/>
      </dsp:txXfrm>
    </dsp:sp>
    <dsp:sp modelId="{43F0C985-6BEA-4EE3-ACF8-246414156A85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1045029" y="3380456"/>
              </a:moveTo>
              <a:arcTo wR="1767412" hR="1767412" stAng="6847481" swAng="923510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440CAD-7B56-40A7-B4C9-05382780C187}">
      <dsp:nvSpPr>
        <dsp:cNvPr id="0" name=""/>
        <dsp:cNvSpPr/>
      </dsp:nvSpPr>
      <dsp:spPr>
        <a:xfrm>
          <a:off x="1109174" y="2653193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1145809" y="2689828"/>
        <a:ext cx="1081298" cy="677199"/>
      </dsp:txXfrm>
    </dsp:sp>
    <dsp:sp modelId="{539EB0FB-03B8-4AAF-A871-51FD8E755726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27532" y="2078160"/>
              </a:moveTo>
              <a:arcTo wR="1767412" hR="1767412" stAng="10192414" swAng="1215173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F8F546-3419-4283-987B-61B36119B79F}">
      <dsp:nvSpPr>
        <dsp:cNvPr id="0" name=""/>
        <dsp:cNvSpPr/>
      </dsp:nvSpPr>
      <dsp:spPr>
        <a:xfrm>
          <a:off x="1109174" y="885780"/>
          <a:ext cx="1154568" cy="750469"/>
        </a:xfrm>
        <a:prstGeom prst="roundRect">
          <a:avLst/>
        </a:prstGeom>
        <a:solidFill>
          <a:schemeClr val="bg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Text</a:t>
          </a:r>
          <a:endParaRPr lang="de-DE" sz="2000" b="1" kern="1200" dirty="0"/>
        </a:p>
      </dsp:txBody>
      <dsp:txXfrm>
        <a:off x="1145809" y="922415"/>
        <a:ext cx="1081298" cy="677199"/>
      </dsp:txXfrm>
    </dsp:sp>
    <dsp:sp modelId="{3A200339-45BD-49BA-AFBF-7AD3C6D32142}">
      <dsp:nvSpPr>
        <dsp:cNvPr id="0" name=""/>
        <dsp:cNvSpPr/>
      </dsp:nvSpPr>
      <dsp:spPr>
        <a:xfrm>
          <a:off x="1449670" y="377309"/>
          <a:ext cx="3534825" cy="3534825"/>
        </a:xfrm>
        <a:custGeom>
          <a:avLst/>
          <a:gdLst/>
          <a:ahLst/>
          <a:cxnLst/>
          <a:rect l="0" t="0" r="0" b="0"/>
          <a:pathLst>
            <a:path>
              <a:moveTo>
                <a:pt x="642806" y="403957"/>
              </a:moveTo>
              <a:arcTo wR="1767412" hR="1767412" stAng="13829009" swAng="923510"/>
            </a:path>
          </a:pathLst>
        </a:custGeom>
        <a:noFill/>
        <a:ln w="38100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F0612-7204-B74A-A110-72491B39C17A}" type="datetime1">
              <a:rPr lang="de-DE" smtClean="0"/>
              <a:pPr/>
              <a:t>14.05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75FC0B-BAB3-F545-9D4B-D712B8179CE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753305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3C4688-F3F9-7D48-8655-8828A780910B}" type="datetime1">
              <a:rPr lang="de-DE" smtClean="0"/>
              <a:pPr/>
              <a:t>14.05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C6C0FA-3A66-074B-AB75-EB713F9901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1658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5" descr="HR_PPT_Punkte_A01_MLI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623395" y="6422339"/>
            <a:ext cx="11503740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6106" y="1865286"/>
            <a:ext cx="3648300" cy="233476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932" y="1865291"/>
            <a:ext cx="4103323" cy="2334759"/>
          </a:xfrm>
          <a:prstGeom prst="rect">
            <a:avLst/>
          </a:prstGeom>
        </p:spPr>
      </p:pic>
      <p:sp>
        <p:nvSpPr>
          <p:cNvPr id="19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5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720001" y="2160005"/>
            <a:ext cx="10752667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591101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  <p15:guide id="3" orient="horz" pos="120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20004" y="2160000"/>
            <a:ext cx="10773833" cy="414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959999" y="2340005"/>
            <a:ext cx="10224000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89603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4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>
          <a:xfrm>
            <a:off x="720000" y="2160005"/>
            <a:ext cx="6144085" cy="560889"/>
          </a:xfrm>
          <a:prstGeom prst="roundRect">
            <a:avLst>
              <a:gd name="adj" fmla="val 10002"/>
            </a:avLst>
          </a:prstGeom>
          <a:solidFill>
            <a:schemeClr val="tx2"/>
          </a:solidFill>
          <a:ln>
            <a:noFill/>
          </a:ln>
        </p:spPr>
        <p:txBody>
          <a:bodyPr wrap="square" lIns="72000" tIns="72000" rIns="72000" bIns="72000">
            <a:spAutoFit/>
          </a:bodyPr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  <a:lvl3pPr marL="449263" indent="0">
              <a:buNone/>
              <a:defRPr/>
            </a:lvl3pPr>
            <a:lvl4pPr marL="627063" indent="0">
              <a:buNone/>
              <a:defRPr/>
            </a:lvl4pPr>
            <a:lvl5pPr marL="89693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pic>
        <p:nvPicPr>
          <p:cNvPr id="4" name="Bild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000" y="544140"/>
            <a:ext cx="36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99351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5520003" y="2160005"/>
            <a:ext cx="5908492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500"/>
            </a:lvl1pPr>
            <a:lvl2pPr marL="177800" indent="0">
              <a:buNone/>
              <a:defRPr sz="1500"/>
            </a:lvl2pPr>
            <a:lvl3pPr marL="449263" indent="0">
              <a:buNone/>
              <a:defRPr sz="1500"/>
            </a:lvl3pPr>
            <a:lvl4pPr marL="627063" indent="0">
              <a:buNone/>
              <a:defRPr sz="1500"/>
            </a:lvl4pPr>
            <a:lvl5pPr marL="896937" indent="0">
              <a:buNone/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720003" y="2160000"/>
            <a:ext cx="4415367" cy="1800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720003" y="4140000"/>
            <a:ext cx="4415367" cy="1800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5520003" y="4140005"/>
            <a:ext cx="5908492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500"/>
            </a:lvl1pPr>
            <a:lvl2pPr marL="177800" indent="0">
              <a:buNone/>
              <a:defRPr sz="1500"/>
            </a:lvl2pPr>
            <a:lvl3pPr marL="449263" indent="0">
              <a:buNone/>
              <a:defRPr sz="1500"/>
            </a:lvl3pPr>
            <a:lvl4pPr marL="627063" indent="0">
              <a:buNone/>
              <a:defRPr sz="1500"/>
            </a:lvl4pPr>
            <a:lvl5pPr marL="896937" indent="0">
              <a:buNone/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254016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20004" y="2160000"/>
            <a:ext cx="10773833" cy="414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5760003" y="2340005"/>
            <a:ext cx="5328031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500"/>
            </a:lvl1pPr>
            <a:lvl2pPr marL="177800" indent="0">
              <a:buNone/>
              <a:defRPr sz="1500"/>
            </a:lvl2pPr>
            <a:lvl3pPr marL="449263" indent="0">
              <a:buNone/>
              <a:defRPr sz="1500"/>
            </a:lvl3pPr>
            <a:lvl4pPr marL="627063" indent="0">
              <a:buNone/>
              <a:defRPr sz="1500"/>
            </a:lvl4pPr>
            <a:lvl5pPr marL="896937" indent="0">
              <a:buNone/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960003" y="2340000"/>
            <a:ext cx="4415367" cy="1800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960003" y="4318497"/>
            <a:ext cx="4415367" cy="1800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5760003" y="4318502"/>
            <a:ext cx="5328031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500"/>
            </a:lvl1pPr>
            <a:lvl2pPr marL="177800" indent="0">
              <a:buNone/>
              <a:defRPr sz="1500"/>
            </a:lvl2pPr>
            <a:lvl3pPr marL="449263" indent="0">
              <a:buNone/>
              <a:defRPr sz="1500"/>
            </a:lvl3pPr>
            <a:lvl4pPr marL="627063" indent="0">
              <a:buNone/>
              <a:defRPr sz="1500"/>
            </a:lvl4pPr>
            <a:lvl5pPr marL="896937" indent="0">
              <a:buNone/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074698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20004" y="2160000"/>
            <a:ext cx="10773833" cy="414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959999" y="2340000"/>
            <a:ext cx="102240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960000" y="3600005"/>
            <a:ext cx="10224000" cy="14619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177800" indent="0">
              <a:buNone/>
              <a:defRPr/>
            </a:lvl2pPr>
            <a:lvl3pPr marL="449263" indent="0">
              <a:buNone/>
              <a:defRPr/>
            </a:lvl3pPr>
            <a:lvl4pPr marL="627063" indent="0">
              <a:buNone/>
              <a:defRPr/>
            </a:lvl4pPr>
            <a:lvl5pPr marL="89693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42170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29035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51" y="1865286"/>
            <a:ext cx="3648300" cy="238271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77" y="1865286"/>
            <a:ext cx="4103323" cy="2382714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5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18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80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51" y="1865287"/>
            <a:ext cx="3648300" cy="2382718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79" y="1865287"/>
            <a:ext cx="4103320" cy="2382718"/>
          </a:xfrm>
          <a:prstGeom prst="rect">
            <a:avLst/>
          </a:prstGeom>
        </p:spPr>
      </p:pic>
      <p:pic>
        <p:nvPicPr>
          <p:cNvPr id="14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9424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49" y="1865287"/>
            <a:ext cx="3648299" cy="238271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79" y="1865281"/>
            <a:ext cx="4103320" cy="2382717"/>
          </a:xfrm>
          <a:prstGeom prst="rect">
            <a:avLst/>
          </a:prstGeom>
        </p:spPr>
      </p:pic>
      <p:pic>
        <p:nvPicPr>
          <p:cNvPr id="22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23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25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9776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49" y="1865286"/>
            <a:ext cx="3648299" cy="2382712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80" y="1865286"/>
            <a:ext cx="4103317" cy="2382712"/>
          </a:xfrm>
          <a:prstGeom prst="rect">
            <a:avLst/>
          </a:prstGeom>
        </p:spPr>
      </p:pic>
      <p:pic>
        <p:nvPicPr>
          <p:cNvPr id="15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20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5167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51" y="1865286"/>
            <a:ext cx="3648296" cy="2382712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80" y="1865291"/>
            <a:ext cx="4103317" cy="2382711"/>
          </a:xfrm>
          <a:prstGeom prst="rect">
            <a:avLst/>
          </a:prstGeom>
        </p:spPr>
      </p:pic>
      <p:pic>
        <p:nvPicPr>
          <p:cNvPr id="10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8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20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2910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" y="0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/>
          <p:nvPr userDrawn="1"/>
        </p:nvSpPr>
        <p:spPr>
          <a:xfrm>
            <a:off x="4782993" y="6422339"/>
            <a:ext cx="7344139" cy="41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51" y="1865287"/>
            <a:ext cx="3648296" cy="2382716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83" y="1865287"/>
            <a:ext cx="4103316" cy="2382716"/>
          </a:xfrm>
          <a:prstGeom prst="rect">
            <a:avLst/>
          </a:prstGeom>
        </p:spPr>
      </p:pic>
      <p:pic>
        <p:nvPicPr>
          <p:cNvPr id="15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45" y="1865286"/>
            <a:ext cx="4103323" cy="2334760"/>
          </a:xfrm>
          <a:prstGeom prst="rect">
            <a:avLst/>
          </a:prstGeom>
        </p:spPr>
      </p:pic>
      <p:sp>
        <p:nvSpPr>
          <p:cNvPr id="20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4157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odu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" y="1878851"/>
            <a:ext cx="12198067" cy="2321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d 5" descr="HR_PPT_Punkte_A01_MLI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" y="4320005"/>
            <a:ext cx="12144672" cy="333131"/>
          </a:xfrm>
          <a:prstGeom prst="rect">
            <a:avLst/>
          </a:prstGeom>
        </p:spPr>
      </p:pic>
      <p:sp>
        <p:nvSpPr>
          <p:cNvPr id="13" name="Titelplatzhalter 1"/>
          <p:cNvSpPr txBox="1">
            <a:spLocks/>
          </p:cNvSpPr>
          <p:nvPr userDrawn="1"/>
        </p:nvSpPr>
        <p:spPr>
          <a:xfrm>
            <a:off x="713923" y="1196752"/>
            <a:ext cx="10752667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5673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20001" y="1584001"/>
            <a:ext cx="10752667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734485" y="2157418"/>
            <a:ext cx="10752667" cy="184665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86779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20.jpe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8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88" r:id="rId2"/>
    <p:sldLayoutId id="2147483700" r:id="rId3"/>
    <p:sldLayoutId id="2147483701" r:id="rId4"/>
    <p:sldLayoutId id="2147483703" r:id="rId5"/>
    <p:sldLayoutId id="2147483704" r:id="rId6"/>
    <p:sldLayoutId id="2147483705" r:id="rId7"/>
    <p:sldLayoutId id="2147483727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780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9263" indent="-271463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7063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68400" indent="-271463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53" userDrawn="1">
          <p15:clr>
            <a:srgbClr val="F26B43"/>
          </p15:clr>
        </p15:guide>
        <p15:guide id="2" pos="72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 flipV="1">
            <a:off x="1676" y="746110"/>
            <a:ext cx="12192000" cy="7386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7" name="Rechteck 6"/>
          <p:cNvSpPr/>
          <p:nvPr userDrawn="1"/>
        </p:nvSpPr>
        <p:spPr>
          <a:xfrm flipV="1">
            <a:off x="0" y="1484780"/>
            <a:ext cx="12192000" cy="481310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1" name="Picture 3" descr="G:\Feindaten_PPT\dot_footer.jp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56" y="240458"/>
            <a:ext cx="3584575" cy="371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Foliennummernplatzhalter 3"/>
          <p:cNvSpPr txBox="1">
            <a:spLocks/>
          </p:cNvSpPr>
          <p:nvPr userDrawn="1"/>
        </p:nvSpPr>
        <p:spPr>
          <a:xfrm>
            <a:off x="283319" y="6521060"/>
            <a:ext cx="5117356" cy="187450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41BF7C-3FFE-42FC-A9C3-A3D67C0166D7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|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Fußzeile ändern: Ansicht &gt; Folienmaster &gt; auf Chart mit der Nr. 2 einmalig ändern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Picture 4" descr="G:\Feindaten_PPT\dot_header.jp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9531" y="139985"/>
            <a:ext cx="5449888" cy="36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Bild 12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168905"/>
            <a:ext cx="2700000" cy="393428"/>
          </a:xfrm>
          <a:prstGeom prst="rect">
            <a:avLst/>
          </a:prstGeom>
        </p:spPr>
      </p:pic>
      <p:sp>
        <p:nvSpPr>
          <p:cNvPr id="35" name="Rechtwinkliges Dreieck 34"/>
          <p:cNvSpPr/>
          <p:nvPr userDrawn="1"/>
        </p:nvSpPr>
        <p:spPr>
          <a:xfrm rot="18900000">
            <a:off x="644990" y="570482"/>
            <a:ext cx="305913" cy="30591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/>
          </a:p>
        </p:txBody>
      </p:sp>
      <p:sp>
        <p:nvSpPr>
          <p:cNvPr id="36" name="Textfeld 35"/>
          <p:cNvSpPr txBox="1"/>
          <p:nvPr userDrawn="1"/>
        </p:nvSpPr>
        <p:spPr>
          <a:xfrm>
            <a:off x="-17807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Titel</a:t>
            </a:r>
            <a:r>
              <a:rPr lang="de-DE" sz="1400" baseline="0" dirty="0" smtClean="0">
                <a:solidFill>
                  <a:schemeClr val="bg1"/>
                </a:solidFill>
              </a:rPr>
              <a:t> 1</a:t>
            </a:r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44" name="Picture 4" descr="G:\Feindaten_PPT\dot_header.jp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472" y="6340878"/>
            <a:ext cx="5449888" cy="36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feld 44"/>
          <p:cNvSpPr txBox="1"/>
          <p:nvPr userDrawn="1"/>
        </p:nvSpPr>
        <p:spPr>
          <a:xfrm>
            <a:off x="1739849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Textfeld 45"/>
          <p:cNvSpPr txBox="1"/>
          <p:nvPr userDrawn="1"/>
        </p:nvSpPr>
        <p:spPr>
          <a:xfrm>
            <a:off x="3497505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Textfeld 46"/>
          <p:cNvSpPr txBox="1"/>
          <p:nvPr userDrawn="1"/>
        </p:nvSpPr>
        <p:spPr>
          <a:xfrm>
            <a:off x="5255161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Textfeld 47"/>
          <p:cNvSpPr txBox="1"/>
          <p:nvPr userDrawn="1"/>
        </p:nvSpPr>
        <p:spPr>
          <a:xfrm>
            <a:off x="7012817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9" name="Textfeld 48"/>
          <p:cNvSpPr txBox="1"/>
          <p:nvPr userDrawn="1"/>
        </p:nvSpPr>
        <p:spPr>
          <a:xfrm>
            <a:off x="8770473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" name="Textfeld 49"/>
          <p:cNvSpPr txBox="1"/>
          <p:nvPr userDrawn="1"/>
        </p:nvSpPr>
        <p:spPr>
          <a:xfrm>
            <a:off x="10528127" y="956568"/>
            <a:ext cx="163150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Titel</a:t>
            </a:r>
            <a:r>
              <a:rPr lang="de-DE" sz="1400" baseline="0" dirty="0" smtClean="0">
                <a:solidFill>
                  <a:schemeClr val="bg1">
                    <a:lumMod val="50000"/>
                  </a:schemeClr>
                </a:solidFill>
              </a:rPr>
              <a:t> 1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623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</p:sldLayoutIdLst>
  <p:transition spd="slow"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780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9263" indent="-271463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7063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68400" indent="-271463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53" userDrawn="1">
          <p15:clr>
            <a:srgbClr val="F26B43"/>
          </p15:clr>
        </p15:guide>
        <p15:guide id="2" pos="7239" userDrawn="1">
          <p15:clr>
            <a:srgbClr val="F26B43"/>
          </p15:clr>
        </p15:guide>
        <p15:guide id="3" orient="horz" pos="1207" userDrawn="1">
          <p15:clr>
            <a:srgbClr val="F26B43"/>
          </p15:clr>
        </p15:guide>
        <p15:guide id="4" orient="horz" pos="1358" userDrawn="1">
          <p15:clr>
            <a:srgbClr val="F26B43"/>
          </p15:clr>
        </p15:guide>
        <p15:guide id="5" orient="horz" pos="396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5.png"/><Relationship Id="rId13" Type="http://schemas.openxmlformats.org/officeDocument/2006/relationships/image" Target="../media/image290.png"/><Relationship Id="rId18" Type="http://schemas.openxmlformats.org/officeDocument/2006/relationships/image" Target="../media/image295.png"/><Relationship Id="rId26" Type="http://schemas.openxmlformats.org/officeDocument/2006/relationships/image" Target="../media/image303.png"/><Relationship Id="rId39" Type="http://schemas.openxmlformats.org/officeDocument/2006/relationships/image" Target="../media/image316.png"/><Relationship Id="rId3" Type="http://schemas.openxmlformats.org/officeDocument/2006/relationships/image" Target="../media/image280.png"/><Relationship Id="rId21" Type="http://schemas.openxmlformats.org/officeDocument/2006/relationships/image" Target="../media/image298.png"/><Relationship Id="rId34" Type="http://schemas.openxmlformats.org/officeDocument/2006/relationships/image" Target="../media/image311.png"/><Relationship Id="rId42" Type="http://schemas.openxmlformats.org/officeDocument/2006/relationships/image" Target="../media/image319.png"/><Relationship Id="rId7" Type="http://schemas.openxmlformats.org/officeDocument/2006/relationships/image" Target="../media/image284.png"/><Relationship Id="rId12" Type="http://schemas.openxmlformats.org/officeDocument/2006/relationships/image" Target="../media/image289.png"/><Relationship Id="rId17" Type="http://schemas.openxmlformats.org/officeDocument/2006/relationships/image" Target="../media/image294.png"/><Relationship Id="rId25" Type="http://schemas.openxmlformats.org/officeDocument/2006/relationships/image" Target="../media/image302.png"/><Relationship Id="rId33" Type="http://schemas.openxmlformats.org/officeDocument/2006/relationships/image" Target="../media/image310.png"/><Relationship Id="rId38" Type="http://schemas.openxmlformats.org/officeDocument/2006/relationships/image" Target="../media/image315.png"/><Relationship Id="rId2" Type="http://schemas.openxmlformats.org/officeDocument/2006/relationships/image" Target="../media/image279.png"/><Relationship Id="rId16" Type="http://schemas.openxmlformats.org/officeDocument/2006/relationships/image" Target="../media/image293.png"/><Relationship Id="rId20" Type="http://schemas.openxmlformats.org/officeDocument/2006/relationships/image" Target="../media/image297.png"/><Relationship Id="rId29" Type="http://schemas.openxmlformats.org/officeDocument/2006/relationships/image" Target="../media/image306.png"/><Relationship Id="rId41" Type="http://schemas.openxmlformats.org/officeDocument/2006/relationships/image" Target="../media/image3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3.png"/><Relationship Id="rId11" Type="http://schemas.openxmlformats.org/officeDocument/2006/relationships/image" Target="../media/image288.png"/><Relationship Id="rId24" Type="http://schemas.openxmlformats.org/officeDocument/2006/relationships/image" Target="../media/image301.png"/><Relationship Id="rId32" Type="http://schemas.openxmlformats.org/officeDocument/2006/relationships/image" Target="../media/image309.png"/><Relationship Id="rId37" Type="http://schemas.openxmlformats.org/officeDocument/2006/relationships/image" Target="../media/image314.png"/><Relationship Id="rId40" Type="http://schemas.openxmlformats.org/officeDocument/2006/relationships/image" Target="../media/image317.png"/><Relationship Id="rId45" Type="http://schemas.openxmlformats.org/officeDocument/2006/relationships/image" Target="../media/image322.png"/><Relationship Id="rId5" Type="http://schemas.openxmlformats.org/officeDocument/2006/relationships/image" Target="../media/image282.png"/><Relationship Id="rId15" Type="http://schemas.openxmlformats.org/officeDocument/2006/relationships/image" Target="../media/image292.png"/><Relationship Id="rId23" Type="http://schemas.openxmlformats.org/officeDocument/2006/relationships/image" Target="../media/image300.png"/><Relationship Id="rId28" Type="http://schemas.openxmlformats.org/officeDocument/2006/relationships/image" Target="../media/image305.png"/><Relationship Id="rId36" Type="http://schemas.openxmlformats.org/officeDocument/2006/relationships/image" Target="../media/image313.png"/><Relationship Id="rId10" Type="http://schemas.openxmlformats.org/officeDocument/2006/relationships/image" Target="../media/image287.png"/><Relationship Id="rId19" Type="http://schemas.openxmlformats.org/officeDocument/2006/relationships/image" Target="../media/image296.png"/><Relationship Id="rId31" Type="http://schemas.openxmlformats.org/officeDocument/2006/relationships/image" Target="../media/image308.png"/><Relationship Id="rId44" Type="http://schemas.openxmlformats.org/officeDocument/2006/relationships/image" Target="../media/image321.png"/><Relationship Id="rId4" Type="http://schemas.openxmlformats.org/officeDocument/2006/relationships/image" Target="../media/image281.png"/><Relationship Id="rId9" Type="http://schemas.openxmlformats.org/officeDocument/2006/relationships/image" Target="../media/image286.png"/><Relationship Id="rId14" Type="http://schemas.openxmlformats.org/officeDocument/2006/relationships/image" Target="../media/image291.png"/><Relationship Id="rId22" Type="http://schemas.openxmlformats.org/officeDocument/2006/relationships/image" Target="../media/image299.png"/><Relationship Id="rId27" Type="http://schemas.openxmlformats.org/officeDocument/2006/relationships/image" Target="../media/image304.png"/><Relationship Id="rId30" Type="http://schemas.openxmlformats.org/officeDocument/2006/relationships/image" Target="../media/image307.png"/><Relationship Id="rId35" Type="http://schemas.openxmlformats.org/officeDocument/2006/relationships/image" Target="../media/image312.png"/><Relationship Id="rId43" Type="http://schemas.openxmlformats.org/officeDocument/2006/relationships/image" Target="../media/image320.pn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4.png"/><Relationship Id="rId18" Type="http://schemas.openxmlformats.org/officeDocument/2006/relationships/image" Target="../media/image339.png"/><Relationship Id="rId26" Type="http://schemas.openxmlformats.org/officeDocument/2006/relationships/image" Target="../media/image347.png"/><Relationship Id="rId39" Type="http://schemas.openxmlformats.org/officeDocument/2006/relationships/image" Target="../media/image360.png"/><Relationship Id="rId3" Type="http://schemas.openxmlformats.org/officeDocument/2006/relationships/image" Target="../media/image324.png"/><Relationship Id="rId21" Type="http://schemas.openxmlformats.org/officeDocument/2006/relationships/image" Target="../media/image342.png"/><Relationship Id="rId34" Type="http://schemas.openxmlformats.org/officeDocument/2006/relationships/image" Target="../media/image355.png"/><Relationship Id="rId42" Type="http://schemas.openxmlformats.org/officeDocument/2006/relationships/image" Target="../media/image363.png"/><Relationship Id="rId47" Type="http://schemas.openxmlformats.org/officeDocument/2006/relationships/image" Target="../media/image368.png"/><Relationship Id="rId50" Type="http://schemas.openxmlformats.org/officeDocument/2006/relationships/image" Target="../media/image371.png"/><Relationship Id="rId7" Type="http://schemas.openxmlformats.org/officeDocument/2006/relationships/image" Target="../media/image328.png"/><Relationship Id="rId12" Type="http://schemas.openxmlformats.org/officeDocument/2006/relationships/image" Target="../media/image333.png"/><Relationship Id="rId17" Type="http://schemas.openxmlformats.org/officeDocument/2006/relationships/image" Target="../media/image338.png"/><Relationship Id="rId25" Type="http://schemas.openxmlformats.org/officeDocument/2006/relationships/image" Target="../media/image346.png"/><Relationship Id="rId33" Type="http://schemas.openxmlformats.org/officeDocument/2006/relationships/image" Target="../media/image354.png"/><Relationship Id="rId38" Type="http://schemas.openxmlformats.org/officeDocument/2006/relationships/image" Target="../media/image359.png"/><Relationship Id="rId46" Type="http://schemas.openxmlformats.org/officeDocument/2006/relationships/image" Target="../media/image367.png"/><Relationship Id="rId2" Type="http://schemas.openxmlformats.org/officeDocument/2006/relationships/image" Target="../media/image323.png"/><Relationship Id="rId16" Type="http://schemas.openxmlformats.org/officeDocument/2006/relationships/image" Target="../media/image337.png"/><Relationship Id="rId20" Type="http://schemas.openxmlformats.org/officeDocument/2006/relationships/image" Target="../media/image341.png"/><Relationship Id="rId29" Type="http://schemas.openxmlformats.org/officeDocument/2006/relationships/image" Target="../media/image350.png"/><Relationship Id="rId41" Type="http://schemas.openxmlformats.org/officeDocument/2006/relationships/image" Target="../media/image36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7.png"/><Relationship Id="rId11" Type="http://schemas.openxmlformats.org/officeDocument/2006/relationships/image" Target="../media/image332.png"/><Relationship Id="rId24" Type="http://schemas.openxmlformats.org/officeDocument/2006/relationships/image" Target="../media/image345.png"/><Relationship Id="rId32" Type="http://schemas.openxmlformats.org/officeDocument/2006/relationships/image" Target="../media/image353.png"/><Relationship Id="rId37" Type="http://schemas.openxmlformats.org/officeDocument/2006/relationships/image" Target="../media/image358.png"/><Relationship Id="rId40" Type="http://schemas.openxmlformats.org/officeDocument/2006/relationships/image" Target="../media/image361.png"/><Relationship Id="rId45" Type="http://schemas.openxmlformats.org/officeDocument/2006/relationships/image" Target="../media/image366.png"/><Relationship Id="rId5" Type="http://schemas.openxmlformats.org/officeDocument/2006/relationships/image" Target="../media/image326.png"/><Relationship Id="rId15" Type="http://schemas.openxmlformats.org/officeDocument/2006/relationships/image" Target="../media/image336.png"/><Relationship Id="rId23" Type="http://schemas.openxmlformats.org/officeDocument/2006/relationships/image" Target="../media/image344.png"/><Relationship Id="rId28" Type="http://schemas.openxmlformats.org/officeDocument/2006/relationships/image" Target="../media/image349.png"/><Relationship Id="rId36" Type="http://schemas.openxmlformats.org/officeDocument/2006/relationships/image" Target="../media/image357.png"/><Relationship Id="rId49" Type="http://schemas.openxmlformats.org/officeDocument/2006/relationships/image" Target="../media/image370.png"/><Relationship Id="rId10" Type="http://schemas.openxmlformats.org/officeDocument/2006/relationships/image" Target="../media/image331.png"/><Relationship Id="rId19" Type="http://schemas.openxmlformats.org/officeDocument/2006/relationships/image" Target="../media/image340.png"/><Relationship Id="rId31" Type="http://schemas.openxmlformats.org/officeDocument/2006/relationships/image" Target="../media/image352.png"/><Relationship Id="rId44" Type="http://schemas.openxmlformats.org/officeDocument/2006/relationships/image" Target="../media/image365.png"/><Relationship Id="rId4" Type="http://schemas.openxmlformats.org/officeDocument/2006/relationships/image" Target="../media/image325.png"/><Relationship Id="rId9" Type="http://schemas.openxmlformats.org/officeDocument/2006/relationships/image" Target="../media/image330.png"/><Relationship Id="rId14" Type="http://schemas.openxmlformats.org/officeDocument/2006/relationships/image" Target="../media/image335.png"/><Relationship Id="rId22" Type="http://schemas.openxmlformats.org/officeDocument/2006/relationships/image" Target="../media/image343.png"/><Relationship Id="rId27" Type="http://schemas.openxmlformats.org/officeDocument/2006/relationships/image" Target="../media/image348.png"/><Relationship Id="rId30" Type="http://schemas.openxmlformats.org/officeDocument/2006/relationships/image" Target="../media/image351.png"/><Relationship Id="rId35" Type="http://schemas.openxmlformats.org/officeDocument/2006/relationships/image" Target="../media/image356.png"/><Relationship Id="rId43" Type="http://schemas.openxmlformats.org/officeDocument/2006/relationships/image" Target="../media/image364.png"/><Relationship Id="rId48" Type="http://schemas.openxmlformats.org/officeDocument/2006/relationships/image" Target="../media/image369.png"/><Relationship Id="rId8" Type="http://schemas.openxmlformats.org/officeDocument/2006/relationships/image" Target="../media/image329.png"/><Relationship Id="rId51" Type="http://schemas.openxmlformats.org/officeDocument/2006/relationships/image" Target="../media/image372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4.png"/><Relationship Id="rId18" Type="http://schemas.openxmlformats.org/officeDocument/2006/relationships/image" Target="../media/image389.png"/><Relationship Id="rId26" Type="http://schemas.openxmlformats.org/officeDocument/2006/relationships/image" Target="../media/image397.png"/><Relationship Id="rId39" Type="http://schemas.openxmlformats.org/officeDocument/2006/relationships/image" Target="../media/image410.png"/><Relationship Id="rId3" Type="http://schemas.openxmlformats.org/officeDocument/2006/relationships/image" Target="../media/image374.png"/><Relationship Id="rId21" Type="http://schemas.openxmlformats.org/officeDocument/2006/relationships/image" Target="../media/image392.png"/><Relationship Id="rId34" Type="http://schemas.openxmlformats.org/officeDocument/2006/relationships/image" Target="../media/image405.png"/><Relationship Id="rId42" Type="http://schemas.openxmlformats.org/officeDocument/2006/relationships/image" Target="../media/image413.png"/><Relationship Id="rId47" Type="http://schemas.openxmlformats.org/officeDocument/2006/relationships/image" Target="../media/image418.png"/><Relationship Id="rId7" Type="http://schemas.openxmlformats.org/officeDocument/2006/relationships/image" Target="../media/image378.png"/><Relationship Id="rId12" Type="http://schemas.openxmlformats.org/officeDocument/2006/relationships/image" Target="../media/image383.png"/><Relationship Id="rId17" Type="http://schemas.openxmlformats.org/officeDocument/2006/relationships/image" Target="../media/image388.png"/><Relationship Id="rId25" Type="http://schemas.openxmlformats.org/officeDocument/2006/relationships/image" Target="../media/image396.png"/><Relationship Id="rId33" Type="http://schemas.openxmlformats.org/officeDocument/2006/relationships/image" Target="../media/image404.png"/><Relationship Id="rId38" Type="http://schemas.openxmlformats.org/officeDocument/2006/relationships/image" Target="../media/image409.png"/><Relationship Id="rId46" Type="http://schemas.openxmlformats.org/officeDocument/2006/relationships/image" Target="../media/image417.png"/><Relationship Id="rId2" Type="http://schemas.openxmlformats.org/officeDocument/2006/relationships/image" Target="../media/image373.png"/><Relationship Id="rId16" Type="http://schemas.openxmlformats.org/officeDocument/2006/relationships/image" Target="../media/image387.png"/><Relationship Id="rId20" Type="http://schemas.openxmlformats.org/officeDocument/2006/relationships/image" Target="../media/image391.png"/><Relationship Id="rId29" Type="http://schemas.openxmlformats.org/officeDocument/2006/relationships/image" Target="../media/image400.png"/><Relationship Id="rId41" Type="http://schemas.openxmlformats.org/officeDocument/2006/relationships/image" Target="../media/image4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77.png"/><Relationship Id="rId11" Type="http://schemas.openxmlformats.org/officeDocument/2006/relationships/image" Target="../media/image382.png"/><Relationship Id="rId24" Type="http://schemas.openxmlformats.org/officeDocument/2006/relationships/image" Target="../media/image395.png"/><Relationship Id="rId32" Type="http://schemas.openxmlformats.org/officeDocument/2006/relationships/image" Target="../media/image403.png"/><Relationship Id="rId37" Type="http://schemas.openxmlformats.org/officeDocument/2006/relationships/image" Target="../media/image408.png"/><Relationship Id="rId40" Type="http://schemas.openxmlformats.org/officeDocument/2006/relationships/image" Target="../media/image411.png"/><Relationship Id="rId45" Type="http://schemas.openxmlformats.org/officeDocument/2006/relationships/image" Target="../media/image416.png"/><Relationship Id="rId5" Type="http://schemas.openxmlformats.org/officeDocument/2006/relationships/image" Target="../media/image376.png"/><Relationship Id="rId15" Type="http://schemas.openxmlformats.org/officeDocument/2006/relationships/image" Target="../media/image386.png"/><Relationship Id="rId23" Type="http://schemas.openxmlformats.org/officeDocument/2006/relationships/image" Target="../media/image394.png"/><Relationship Id="rId28" Type="http://schemas.openxmlformats.org/officeDocument/2006/relationships/image" Target="../media/image399.png"/><Relationship Id="rId36" Type="http://schemas.openxmlformats.org/officeDocument/2006/relationships/image" Target="../media/image407.png"/><Relationship Id="rId49" Type="http://schemas.openxmlformats.org/officeDocument/2006/relationships/image" Target="../media/image420.png"/><Relationship Id="rId10" Type="http://schemas.openxmlformats.org/officeDocument/2006/relationships/image" Target="../media/image381.png"/><Relationship Id="rId19" Type="http://schemas.openxmlformats.org/officeDocument/2006/relationships/image" Target="../media/image390.png"/><Relationship Id="rId31" Type="http://schemas.openxmlformats.org/officeDocument/2006/relationships/image" Target="../media/image402.png"/><Relationship Id="rId44" Type="http://schemas.openxmlformats.org/officeDocument/2006/relationships/image" Target="../media/image415.png"/><Relationship Id="rId4" Type="http://schemas.openxmlformats.org/officeDocument/2006/relationships/image" Target="../media/image375.png"/><Relationship Id="rId9" Type="http://schemas.openxmlformats.org/officeDocument/2006/relationships/image" Target="../media/image380.png"/><Relationship Id="rId14" Type="http://schemas.openxmlformats.org/officeDocument/2006/relationships/image" Target="../media/image385.png"/><Relationship Id="rId22" Type="http://schemas.openxmlformats.org/officeDocument/2006/relationships/image" Target="../media/image393.png"/><Relationship Id="rId27" Type="http://schemas.openxmlformats.org/officeDocument/2006/relationships/image" Target="../media/image398.png"/><Relationship Id="rId30" Type="http://schemas.openxmlformats.org/officeDocument/2006/relationships/image" Target="../media/image401.png"/><Relationship Id="rId35" Type="http://schemas.openxmlformats.org/officeDocument/2006/relationships/image" Target="../media/image406.png"/><Relationship Id="rId43" Type="http://schemas.openxmlformats.org/officeDocument/2006/relationships/image" Target="../media/image414.png"/><Relationship Id="rId48" Type="http://schemas.openxmlformats.org/officeDocument/2006/relationships/image" Target="../media/image419.png"/><Relationship Id="rId8" Type="http://schemas.openxmlformats.org/officeDocument/2006/relationships/image" Target="../media/image37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1.png"/><Relationship Id="rId7" Type="http://schemas.openxmlformats.org/officeDocument/2006/relationships/image" Target="../media/image42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4.png"/><Relationship Id="rId5" Type="http://schemas.openxmlformats.org/officeDocument/2006/relationships/image" Target="../media/image423.png"/><Relationship Id="rId4" Type="http://schemas.openxmlformats.org/officeDocument/2006/relationships/image" Target="../media/image42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kommunikation@bitmarck.de" TargetMode="Externa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6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7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8.jp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9.jp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png"/><Relationship Id="rId2" Type="http://schemas.openxmlformats.org/officeDocument/2006/relationships/image" Target="../media/image427.jp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png"/><Relationship Id="rId2" Type="http://schemas.openxmlformats.org/officeDocument/2006/relationships/image" Target="../media/image427.jp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1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9" Type="http://schemas.openxmlformats.org/officeDocument/2006/relationships/image" Target="../media/image59.png"/><Relationship Id="rId3" Type="http://schemas.openxmlformats.org/officeDocument/2006/relationships/image" Target="../media/image23.png"/><Relationship Id="rId21" Type="http://schemas.openxmlformats.org/officeDocument/2006/relationships/image" Target="../media/image41.png"/><Relationship Id="rId34" Type="http://schemas.openxmlformats.org/officeDocument/2006/relationships/image" Target="../media/image54.png"/><Relationship Id="rId42" Type="http://schemas.openxmlformats.org/officeDocument/2006/relationships/image" Target="../media/image62.png"/><Relationship Id="rId47" Type="http://schemas.openxmlformats.org/officeDocument/2006/relationships/image" Target="../media/image67.png"/><Relationship Id="rId50" Type="http://schemas.openxmlformats.org/officeDocument/2006/relationships/image" Target="../media/image70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5" Type="http://schemas.openxmlformats.org/officeDocument/2006/relationships/image" Target="../media/image45.png"/><Relationship Id="rId33" Type="http://schemas.openxmlformats.org/officeDocument/2006/relationships/image" Target="../media/image53.png"/><Relationship Id="rId38" Type="http://schemas.openxmlformats.org/officeDocument/2006/relationships/image" Target="../media/image58.png"/><Relationship Id="rId46" Type="http://schemas.openxmlformats.org/officeDocument/2006/relationships/image" Target="../media/image66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29" Type="http://schemas.openxmlformats.org/officeDocument/2006/relationships/image" Target="../media/image49.png"/><Relationship Id="rId41" Type="http://schemas.openxmlformats.org/officeDocument/2006/relationships/image" Target="../media/image6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37" Type="http://schemas.openxmlformats.org/officeDocument/2006/relationships/image" Target="../media/image57.png"/><Relationship Id="rId40" Type="http://schemas.openxmlformats.org/officeDocument/2006/relationships/image" Target="../media/image60.png"/><Relationship Id="rId45" Type="http://schemas.openxmlformats.org/officeDocument/2006/relationships/image" Target="../media/image65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23" Type="http://schemas.openxmlformats.org/officeDocument/2006/relationships/image" Target="../media/image43.png"/><Relationship Id="rId28" Type="http://schemas.openxmlformats.org/officeDocument/2006/relationships/image" Target="../media/image48.png"/><Relationship Id="rId36" Type="http://schemas.openxmlformats.org/officeDocument/2006/relationships/image" Target="../media/image56.png"/><Relationship Id="rId49" Type="http://schemas.openxmlformats.org/officeDocument/2006/relationships/image" Target="../media/image69.png"/><Relationship Id="rId10" Type="http://schemas.openxmlformats.org/officeDocument/2006/relationships/image" Target="../media/image30.png"/><Relationship Id="rId19" Type="http://schemas.openxmlformats.org/officeDocument/2006/relationships/image" Target="../media/image39.png"/><Relationship Id="rId31" Type="http://schemas.openxmlformats.org/officeDocument/2006/relationships/image" Target="../media/image51.png"/><Relationship Id="rId44" Type="http://schemas.openxmlformats.org/officeDocument/2006/relationships/image" Target="../media/image64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35" Type="http://schemas.openxmlformats.org/officeDocument/2006/relationships/image" Target="../media/image55.png"/><Relationship Id="rId43" Type="http://schemas.openxmlformats.org/officeDocument/2006/relationships/image" Target="../media/image63.png"/><Relationship Id="rId48" Type="http://schemas.openxmlformats.org/officeDocument/2006/relationships/image" Target="../media/image68.png"/><Relationship Id="rId8" Type="http://schemas.openxmlformats.org/officeDocument/2006/relationships/image" Target="../media/image28.png"/><Relationship Id="rId51" Type="http://schemas.openxmlformats.org/officeDocument/2006/relationships/image" Target="../media/image71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3.png"/><Relationship Id="rId18" Type="http://schemas.openxmlformats.org/officeDocument/2006/relationships/image" Target="../media/image88.png"/><Relationship Id="rId26" Type="http://schemas.openxmlformats.org/officeDocument/2006/relationships/image" Target="../media/image96.png"/><Relationship Id="rId39" Type="http://schemas.openxmlformats.org/officeDocument/2006/relationships/image" Target="../media/image109.png"/><Relationship Id="rId3" Type="http://schemas.openxmlformats.org/officeDocument/2006/relationships/image" Target="../media/image73.png"/><Relationship Id="rId21" Type="http://schemas.openxmlformats.org/officeDocument/2006/relationships/image" Target="../media/image91.png"/><Relationship Id="rId34" Type="http://schemas.openxmlformats.org/officeDocument/2006/relationships/image" Target="../media/image104.png"/><Relationship Id="rId42" Type="http://schemas.openxmlformats.org/officeDocument/2006/relationships/image" Target="../media/image112.png"/><Relationship Id="rId47" Type="http://schemas.openxmlformats.org/officeDocument/2006/relationships/image" Target="../media/image117.png"/><Relationship Id="rId50" Type="http://schemas.openxmlformats.org/officeDocument/2006/relationships/image" Target="../media/image120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17" Type="http://schemas.openxmlformats.org/officeDocument/2006/relationships/image" Target="../media/image87.png"/><Relationship Id="rId25" Type="http://schemas.openxmlformats.org/officeDocument/2006/relationships/image" Target="../media/image95.png"/><Relationship Id="rId33" Type="http://schemas.openxmlformats.org/officeDocument/2006/relationships/image" Target="../media/image103.png"/><Relationship Id="rId38" Type="http://schemas.openxmlformats.org/officeDocument/2006/relationships/image" Target="../media/image108.png"/><Relationship Id="rId46" Type="http://schemas.openxmlformats.org/officeDocument/2006/relationships/image" Target="../media/image116.png"/><Relationship Id="rId2" Type="http://schemas.openxmlformats.org/officeDocument/2006/relationships/image" Target="../media/image72.png"/><Relationship Id="rId16" Type="http://schemas.openxmlformats.org/officeDocument/2006/relationships/image" Target="../media/image86.png"/><Relationship Id="rId20" Type="http://schemas.openxmlformats.org/officeDocument/2006/relationships/image" Target="../media/image90.png"/><Relationship Id="rId29" Type="http://schemas.openxmlformats.org/officeDocument/2006/relationships/image" Target="../media/image99.png"/><Relationship Id="rId41" Type="http://schemas.openxmlformats.org/officeDocument/2006/relationships/image" Target="../media/image11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24" Type="http://schemas.openxmlformats.org/officeDocument/2006/relationships/image" Target="../media/image94.png"/><Relationship Id="rId32" Type="http://schemas.openxmlformats.org/officeDocument/2006/relationships/image" Target="../media/image102.png"/><Relationship Id="rId37" Type="http://schemas.openxmlformats.org/officeDocument/2006/relationships/image" Target="../media/image107.png"/><Relationship Id="rId40" Type="http://schemas.openxmlformats.org/officeDocument/2006/relationships/image" Target="../media/image110.png"/><Relationship Id="rId45" Type="http://schemas.openxmlformats.org/officeDocument/2006/relationships/image" Target="../media/image115.png"/><Relationship Id="rId5" Type="http://schemas.openxmlformats.org/officeDocument/2006/relationships/image" Target="../media/image75.png"/><Relationship Id="rId15" Type="http://schemas.openxmlformats.org/officeDocument/2006/relationships/image" Target="../media/image85.png"/><Relationship Id="rId23" Type="http://schemas.openxmlformats.org/officeDocument/2006/relationships/image" Target="../media/image93.png"/><Relationship Id="rId28" Type="http://schemas.openxmlformats.org/officeDocument/2006/relationships/image" Target="../media/image98.png"/><Relationship Id="rId36" Type="http://schemas.openxmlformats.org/officeDocument/2006/relationships/image" Target="../media/image106.png"/><Relationship Id="rId49" Type="http://schemas.openxmlformats.org/officeDocument/2006/relationships/image" Target="../media/image119.png"/><Relationship Id="rId10" Type="http://schemas.openxmlformats.org/officeDocument/2006/relationships/image" Target="../media/image80.png"/><Relationship Id="rId19" Type="http://schemas.openxmlformats.org/officeDocument/2006/relationships/image" Target="../media/image89.png"/><Relationship Id="rId31" Type="http://schemas.openxmlformats.org/officeDocument/2006/relationships/image" Target="../media/image101.png"/><Relationship Id="rId44" Type="http://schemas.openxmlformats.org/officeDocument/2006/relationships/image" Target="../media/image114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Relationship Id="rId14" Type="http://schemas.openxmlformats.org/officeDocument/2006/relationships/image" Target="../media/image84.png"/><Relationship Id="rId22" Type="http://schemas.openxmlformats.org/officeDocument/2006/relationships/image" Target="../media/image92.png"/><Relationship Id="rId27" Type="http://schemas.openxmlformats.org/officeDocument/2006/relationships/image" Target="../media/image97.png"/><Relationship Id="rId30" Type="http://schemas.openxmlformats.org/officeDocument/2006/relationships/image" Target="../media/image100.png"/><Relationship Id="rId35" Type="http://schemas.openxmlformats.org/officeDocument/2006/relationships/image" Target="../media/image105.png"/><Relationship Id="rId43" Type="http://schemas.openxmlformats.org/officeDocument/2006/relationships/image" Target="../media/image113.png"/><Relationship Id="rId48" Type="http://schemas.openxmlformats.org/officeDocument/2006/relationships/image" Target="../media/image118.png"/><Relationship Id="rId8" Type="http://schemas.openxmlformats.org/officeDocument/2006/relationships/image" Target="../media/image78.png"/><Relationship Id="rId51" Type="http://schemas.openxmlformats.org/officeDocument/2006/relationships/image" Target="../media/image121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13" Type="http://schemas.openxmlformats.org/officeDocument/2006/relationships/image" Target="../media/image133.png"/><Relationship Id="rId18" Type="http://schemas.openxmlformats.org/officeDocument/2006/relationships/image" Target="../media/image138.png"/><Relationship Id="rId26" Type="http://schemas.openxmlformats.org/officeDocument/2006/relationships/image" Target="../media/image146.png"/><Relationship Id="rId3" Type="http://schemas.openxmlformats.org/officeDocument/2006/relationships/image" Target="../media/image123.png"/><Relationship Id="rId21" Type="http://schemas.openxmlformats.org/officeDocument/2006/relationships/image" Target="../media/image141.png"/><Relationship Id="rId34" Type="http://schemas.openxmlformats.org/officeDocument/2006/relationships/image" Target="../media/image154.png"/><Relationship Id="rId7" Type="http://schemas.openxmlformats.org/officeDocument/2006/relationships/image" Target="../media/image127.png"/><Relationship Id="rId12" Type="http://schemas.openxmlformats.org/officeDocument/2006/relationships/image" Target="../media/image132.png"/><Relationship Id="rId17" Type="http://schemas.openxmlformats.org/officeDocument/2006/relationships/image" Target="../media/image137.png"/><Relationship Id="rId25" Type="http://schemas.openxmlformats.org/officeDocument/2006/relationships/image" Target="../media/image145.png"/><Relationship Id="rId33" Type="http://schemas.openxmlformats.org/officeDocument/2006/relationships/image" Target="../media/image153.png"/><Relationship Id="rId2" Type="http://schemas.openxmlformats.org/officeDocument/2006/relationships/image" Target="../media/image122.png"/><Relationship Id="rId16" Type="http://schemas.openxmlformats.org/officeDocument/2006/relationships/image" Target="../media/image136.png"/><Relationship Id="rId20" Type="http://schemas.openxmlformats.org/officeDocument/2006/relationships/image" Target="../media/image140.png"/><Relationship Id="rId29" Type="http://schemas.openxmlformats.org/officeDocument/2006/relationships/image" Target="../media/image14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6.png"/><Relationship Id="rId11" Type="http://schemas.openxmlformats.org/officeDocument/2006/relationships/image" Target="../media/image131.png"/><Relationship Id="rId24" Type="http://schemas.openxmlformats.org/officeDocument/2006/relationships/image" Target="../media/image144.png"/><Relationship Id="rId32" Type="http://schemas.openxmlformats.org/officeDocument/2006/relationships/image" Target="../media/image152.png"/><Relationship Id="rId5" Type="http://schemas.openxmlformats.org/officeDocument/2006/relationships/image" Target="../media/image125.png"/><Relationship Id="rId15" Type="http://schemas.openxmlformats.org/officeDocument/2006/relationships/image" Target="../media/image135.png"/><Relationship Id="rId23" Type="http://schemas.openxmlformats.org/officeDocument/2006/relationships/image" Target="../media/image143.png"/><Relationship Id="rId28" Type="http://schemas.openxmlformats.org/officeDocument/2006/relationships/image" Target="../media/image148.png"/><Relationship Id="rId10" Type="http://schemas.openxmlformats.org/officeDocument/2006/relationships/image" Target="../media/image130.png"/><Relationship Id="rId19" Type="http://schemas.openxmlformats.org/officeDocument/2006/relationships/image" Target="../media/image139.png"/><Relationship Id="rId31" Type="http://schemas.openxmlformats.org/officeDocument/2006/relationships/image" Target="../media/image151.png"/><Relationship Id="rId4" Type="http://schemas.openxmlformats.org/officeDocument/2006/relationships/image" Target="../media/image124.png"/><Relationship Id="rId9" Type="http://schemas.openxmlformats.org/officeDocument/2006/relationships/image" Target="../media/image129.png"/><Relationship Id="rId14" Type="http://schemas.openxmlformats.org/officeDocument/2006/relationships/image" Target="../media/image134.png"/><Relationship Id="rId22" Type="http://schemas.openxmlformats.org/officeDocument/2006/relationships/image" Target="../media/image142.png"/><Relationship Id="rId27" Type="http://schemas.openxmlformats.org/officeDocument/2006/relationships/image" Target="../media/image147.png"/><Relationship Id="rId30" Type="http://schemas.openxmlformats.org/officeDocument/2006/relationships/image" Target="../media/image150.png"/><Relationship Id="rId35" Type="http://schemas.openxmlformats.org/officeDocument/2006/relationships/image" Target="../media/image155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2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4.png"/><Relationship Id="rId2" Type="http://schemas.openxmlformats.org/officeDocument/2006/relationships/image" Target="../media/image43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6.png"/><Relationship Id="rId4" Type="http://schemas.openxmlformats.org/officeDocument/2006/relationships/image" Target="../media/image435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7.png"/><Relationship Id="rId18" Type="http://schemas.openxmlformats.org/officeDocument/2006/relationships/image" Target="../media/image172.png"/><Relationship Id="rId26" Type="http://schemas.openxmlformats.org/officeDocument/2006/relationships/image" Target="../media/image180.png"/><Relationship Id="rId39" Type="http://schemas.openxmlformats.org/officeDocument/2006/relationships/image" Target="../media/image193.png"/><Relationship Id="rId3" Type="http://schemas.openxmlformats.org/officeDocument/2006/relationships/image" Target="../media/image157.png"/><Relationship Id="rId21" Type="http://schemas.openxmlformats.org/officeDocument/2006/relationships/image" Target="../media/image175.png"/><Relationship Id="rId34" Type="http://schemas.openxmlformats.org/officeDocument/2006/relationships/image" Target="../media/image188.png"/><Relationship Id="rId42" Type="http://schemas.openxmlformats.org/officeDocument/2006/relationships/image" Target="../media/image196.png"/><Relationship Id="rId47" Type="http://schemas.openxmlformats.org/officeDocument/2006/relationships/image" Target="../media/image201.png"/><Relationship Id="rId50" Type="http://schemas.openxmlformats.org/officeDocument/2006/relationships/image" Target="../media/image204.png"/><Relationship Id="rId7" Type="http://schemas.openxmlformats.org/officeDocument/2006/relationships/image" Target="../media/image161.png"/><Relationship Id="rId12" Type="http://schemas.openxmlformats.org/officeDocument/2006/relationships/image" Target="../media/image166.png"/><Relationship Id="rId17" Type="http://schemas.openxmlformats.org/officeDocument/2006/relationships/image" Target="../media/image171.png"/><Relationship Id="rId25" Type="http://schemas.openxmlformats.org/officeDocument/2006/relationships/image" Target="../media/image179.png"/><Relationship Id="rId33" Type="http://schemas.openxmlformats.org/officeDocument/2006/relationships/image" Target="../media/image187.png"/><Relationship Id="rId38" Type="http://schemas.openxmlformats.org/officeDocument/2006/relationships/image" Target="../media/image192.png"/><Relationship Id="rId46" Type="http://schemas.openxmlformats.org/officeDocument/2006/relationships/image" Target="../media/image200.png"/><Relationship Id="rId2" Type="http://schemas.openxmlformats.org/officeDocument/2006/relationships/image" Target="../media/image156.png"/><Relationship Id="rId16" Type="http://schemas.openxmlformats.org/officeDocument/2006/relationships/image" Target="../media/image170.png"/><Relationship Id="rId20" Type="http://schemas.openxmlformats.org/officeDocument/2006/relationships/image" Target="../media/image174.png"/><Relationship Id="rId29" Type="http://schemas.openxmlformats.org/officeDocument/2006/relationships/image" Target="../media/image183.png"/><Relationship Id="rId41" Type="http://schemas.openxmlformats.org/officeDocument/2006/relationships/image" Target="../media/image19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0.png"/><Relationship Id="rId11" Type="http://schemas.openxmlformats.org/officeDocument/2006/relationships/image" Target="../media/image165.png"/><Relationship Id="rId24" Type="http://schemas.openxmlformats.org/officeDocument/2006/relationships/image" Target="../media/image178.png"/><Relationship Id="rId32" Type="http://schemas.openxmlformats.org/officeDocument/2006/relationships/image" Target="../media/image186.png"/><Relationship Id="rId37" Type="http://schemas.openxmlformats.org/officeDocument/2006/relationships/image" Target="../media/image191.png"/><Relationship Id="rId40" Type="http://schemas.openxmlformats.org/officeDocument/2006/relationships/image" Target="../media/image194.png"/><Relationship Id="rId45" Type="http://schemas.openxmlformats.org/officeDocument/2006/relationships/image" Target="../media/image199.png"/><Relationship Id="rId5" Type="http://schemas.openxmlformats.org/officeDocument/2006/relationships/image" Target="../media/image159.png"/><Relationship Id="rId15" Type="http://schemas.openxmlformats.org/officeDocument/2006/relationships/image" Target="../media/image169.png"/><Relationship Id="rId23" Type="http://schemas.openxmlformats.org/officeDocument/2006/relationships/image" Target="../media/image177.png"/><Relationship Id="rId28" Type="http://schemas.openxmlformats.org/officeDocument/2006/relationships/image" Target="../media/image182.png"/><Relationship Id="rId36" Type="http://schemas.openxmlformats.org/officeDocument/2006/relationships/image" Target="../media/image190.png"/><Relationship Id="rId49" Type="http://schemas.openxmlformats.org/officeDocument/2006/relationships/image" Target="../media/image203.png"/><Relationship Id="rId10" Type="http://schemas.openxmlformats.org/officeDocument/2006/relationships/image" Target="../media/image164.png"/><Relationship Id="rId19" Type="http://schemas.openxmlformats.org/officeDocument/2006/relationships/image" Target="../media/image173.png"/><Relationship Id="rId31" Type="http://schemas.openxmlformats.org/officeDocument/2006/relationships/image" Target="../media/image185.png"/><Relationship Id="rId44" Type="http://schemas.openxmlformats.org/officeDocument/2006/relationships/image" Target="../media/image198.png"/><Relationship Id="rId4" Type="http://schemas.openxmlformats.org/officeDocument/2006/relationships/image" Target="../media/image158.png"/><Relationship Id="rId9" Type="http://schemas.openxmlformats.org/officeDocument/2006/relationships/image" Target="../media/image163.png"/><Relationship Id="rId14" Type="http://schemas.openxmlformats.org/officeDocument/2006/relationships/image" Target="../media/image168.png"/><Relationship Id="rId22" Type="http://schemas.openxmlformats.org/officeDocument/2006/relationships/image" Target="../media/image176.png"/><Relationship Id="rId27" Type="http://schemas.openxmlformats.org/officeDocument/2006/relationships/image" Target="../media/image181.png"/><Relationship Id="rId30" Type="http://schemas.openxmlformats.org/officeDocument/2006/relationships/image" Target="../media/image184.png"/><Relationship Id="rId35" Type="http://schemas.openxmlformats.org/officeDocument/2006/relationships/image" Target="../media/image189.png"/><Relationship Id="rId43" Type="http://schemas.openxmlformats.org/officeDocument/2006/relationships/image" Target="../media/image197.png"/><Relationship Id="rId48" Type="http://schemas.openxmlformats.org/officeDocument/2006/relationships/image" Target="../media/image202.png"/><Relationship Id="rId8" Type="http://schemas.openxmlformats.org/officeDocument/2006/relationships/image" Target="../media/image162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png"/><Relationship Id="rId13" Type="http://schemas.openxmlformats.org/officeDocument/2006/relationships/image" Target="../media/image216.png"/><Relationship Id="rId18" Type="http://schemas.openxmlformats.org/officeDocument/2006/relationships/image" Target="../media/image221.png"/><Relationship Id="rId26" Type="http://schemas.openxmlformats.org/officeDocument/2006/relationships/image" Target="../media/image229.png"/><Relationship Id="rId39" Type="http://schemas.openxmlformats.org/officeDocument/2006/relationships/image" Target="../media/image242.png"/><Relationship Id="rId3" Type="http://schemas.openxmlformats.org/officeDocument/2006/relationships/image" Target="../media/image206.png"/><Relationship Id="rId21" Type="http://schemas.openxmlformats.org/officeDocument/2006/relationships/image" Target="../media/image224.png"/><Relationship Id="rId34" Type="http://schemas.openxmlformats.org/officeDocument/2006/relationships/image" Target="../media/image237.png"/><Relationship Id="rId42" Type="http://schemas.openxmlformats.org/officeDocument/2006/relationships/image" Target="../media/image245.png"/><Relationship Id="rId47" Type="http://schemas.openxmlformats.org/officeDocument/2006/relationships/image" Target="../media/image250.png"/><Relationship Id="rId7" Type="http://schemas.openxmlformats.org/officeDocument/2006/relationships/image" Target="../media/image210.png"/><Relationship Id="rId12" Type="http://schemas.openxmlformats.org/officeDocument/2006/relationships/image" Target="../media/image215.png"/><Relationship Id="rId17" Type="http://schemas.openxmlformats.org/officeDocument/2006/relationships/image" Target="../media/image220.png"/><Relationship Id="rId25" Type="http://schemas.openxmlformats.org/officeDocument/2006/relationships/image" Target="../media/image228.png"/><Relationship Id="rId33" Type="http://schemas.openxmlformats.org/officeDocument/2006/relationships/image" Target="../media/image236.png"/><Relationship Id="rId38" Type="http://schemas.openxmlformats.org/officeDocument/2006/relationships/image" Target="../media/image241.png"/><Relationship Id="rId46" Type="http://schemas.openxmlformats.org/officeDocument/2006/relationships/image" Target="../media/image249.png"/><Relationship Id="rId2" Type="http://schemas.openxmlformats.org/officeDocument/2006/relationships/image" Target="../media/image205.png"/><Relationship Id="rId16" Type="http://schemas.openxmlformats.org/officeDocument/2006/relationships/image" Target="../media/image219.png"/><Relationship Id="rId20" Type="http://schemas.openxmlformats.org/officeDocument/2006/relationships/image" Target="../media/image223.png"/><Relationship Id="rId29" Type="http://schemas.openxmlformats.org/officeDocument/2006/relationships/image" Target="../media/image232.png"/><Relationship Id="rId41" Type="http://schemas.openxmlformats.org/officeDocument/2006/relationships/image" Target="../media/image24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9.png"/><Relationship Id="rId11" Type="http://schemas.openxmlformats.org/officeDocument/2006/relationships/image" Target="../media/image214.png"/><Relationship Id="rId24" Type="http://schemas.openxmlformats.org/officeDocument/2006/relationships/image" Target="../media/image227.png"/><Relationship Id="rId32" Type="http://schemas.openxmlformats.org/officeDocument/2006/relationships/image" Target="../media/image235.png"/><Relationship Id="rId37" Type="http://schemas.openxmlformats.org/officeDocument/2006/relationships/image" Target="../media/image240.png"/><Relationship Id="rId40" Type="http://schemas.openxmlformats.org/officeDocument/2006/relationships/image" Target="../media/image243.png"/><Relationship Id="rId45" Type="http://schemas.openxmlformats.org/officeDocument/2006/relationships/image" Target="../media/image248.png"/><Relationship Id="rId5" Type="http://schemas.openxmlformats.org/officeDocument/2006/relationships/image" Target="../media/image208.png"/><Relationship Id="rId15" Type="http://schemas.openxmlformats.org/officeDocument/2006/relationships/image" Target="../media/image218.png"/><Relationship Id="rId23" Type="http://schemas.openxmlformats.org/officeDocument/2006/relationships/image" Target="../media/image226.png"/><Relationship Id="rId28" Type="http://schemas.openxmlformats.org/officeDocument/2006/relationships/image" Target="../media/image231.png"/><Relationship Id="rId36" Type="http://schemas.openxmlformats.org/officeDocument/2006/relationships/image" Target="../media/image239.png"/><Relationship Id="rId10" Type="http://schemas.openxmlformats.org/officeDocument/2006/relationships/image" Target="../media/image213.png"/><Relationship Id="rId19" Type="http://schemas.openxmlformats.org/officeDocument/2006/relationships/image" Target="../media/image222.png"/><Relationship Id="rId31" Type="http://schemas.openxmlformats.org/officeDocument/2006/relationships/image" Target="../media/image234.png"/><Relationship Id="rId44" Type="http://schemas.openxmlformats.org/officeDocument/2006/relationships/image" Target="../media/image247.png"/><Relationship Id="rId4" Type="http://schemas.openxmlformats.org/officeDocument/2006/relationships/image" Target="../media/image207.png"/><Relationship Id="rId9" Type="http://schemas.openxmlformats.org/officeDocument/2006/relationships/image" Target="../media/image212.png"/><Relationship Id="rId14" Type="http://schemas.openxmlformats.org/officeDocument/2006/relationships/image" Target="../media/image217.png"/><Relationship Id="rId22" Type="http://schemas.openxmlformats.org/officeDocument/2006/relationships/image" Target="../media/image225.png"/><Relationship Id="rId27" Type="http://schemas.openxmlformats.org/officeDocument/2006/relationships/image" Target="../media/image230.png"/><Relationship Id="rId30" Type="http://schemas.openxmlformats.org/officeDocument/2006/relationships/image" Target="../media/image233.png"/><Relationship Id="rId35" Type="http://schemas.openxmlformats.org/officeDocument/2006/relationships/image" Target="../media/image238.png"/><Relationship Id="rId43" Type="http://schemas.openxmlformats.org/officeDocument/2006/relationships/image" Target="../media/image246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7.png"/><Relationship Id="rId1" Type="http://schemas.openxmlformats.org/officeDocument/2006/relationships/slideLayout" Target="../slideLayouts/slideLayout11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7.png"/><Relationship Id="rId13" Type="http://schemas.openxmlformats.org/officeDocument/2006/relationships/image" Target="../media/image262.png"/><Relationship Id="rId18" Type="http://schemas.openxmlformats.org/officeDocument/2006/relationships/image" Target="../media/image267.png"/><Relationship Id="rId26" Type="http://schemas.openxmlformats.org/officeDocument/2006/relationships/image" Target="../media/image275.png"/><Relationship Id="rId3" Type="http://schemas.openxmlformats.org/officeDocument/2006/relationships/image" Target="../media/image252.png"/><Relationship Id="rId21" Type="http://schemas.openxmlformats.org/officeDocument/2006/relationships/image" Target="../media/image270.png"/><Relationship Id="rId7" Type="http://schemas.openxmlformats.org/officeDocument/2006/relationships/image" Target="../media/image256.png"/><Relationship Id="rId12" Type="http://schemas.openxmlformats.org/officeDocument/2006/relationships/image" Target="../media/image261.png"/><Relationship Id="rId17" Type="http://schemas.openxmlformats.org/officeDocument/2006/relationships/image" Target="../media/image266.png"/><Relationship Id="rId25" Type="http://schemas.openxmlformats.org/officeDocument/2006/relationships/image" Target="../media/image274.png"/><Relationship Id="rId2" Type="http://schemas.openxmlformats.org/officeDocument/2006/relationships/image" Target="../media/image251.png"/><Relationship Id="rId16" Type="http://schemas.openxmlformats.org/officeDocument/2006/relationships/image" Target="../media/image265.png"/><Relationship Id="rId20" Type="http://schemas.openxmlformats.org/officeDocument/2006/relationships/image" Target="../media/image269.png"/><Relationship Id="rId29" Type="http://schemas.openxmlformats.org/officeDocument/2006/relationships/image" Target="../media/image27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55.png"/><Relationship Id="rId11" Type="http://schemas.openxmlformats.org/officeDocument/2006/relationships/image" Target="../media/image260.png"/><Relationship Id="rId24" Type="http://schemas.openxmlformats.org/officeDocument/2006/relationships/image" Target="../media/image273.png"/><Relationship Id="rId5" Type="http://schemas.openxmlformats.org/officeDocument/2006/relationships/image" Target="../media/image254.png"/><Relationship Id="rId15" Type="http://schemas.openxmlformats.org/officeDocument/2006/relationships/image" Target="../media/image264.png"/><Relationship Id="rId23" Type="http://schemas.openxmlformats.org/officeDocument/2006/relationships/image" Target="../media/image272.png"/><Relationship Id="rId28" Type="http://schemas.openxmlformats.org/officeDocument/2006/relationships/image" Target="../media/image277.png"/><Relationship Id="rId10" Type="http://schemas.openxmlformats.org/officeDocument/2006/relationships/image" Target="../media/image259.png"/><Relationship Id="rId19" Type="http://schemas.openxmlformats.org/officeDocument/2006/relationships/image" Target="../media/image268.png"/><Relationship Id="rId4" Type="http://schemas.openxmlformats.org/officeDocument/2006/relationships/image" Target="../media/image253.png"/><Relationship Id="rId9" Type="http://schemas.openxmlformats.org/officeDocument/2006/relationships/image" Target="../media/image258.png"/><Relationship Id="rId14" Type="http://schemas.openxmlformats.org/officeDocument/2006/relationships/image" Target="../media/image263.png"/><Relationship Id="rId22" Type="http://schemas.openxmlformats.org/officeDocument/2006/relationships/image" Target="../media/image271.png"/><Relationship Id="rId27" Type="http://schemas.openxmlformats.org/officeDocument/2006/relationships/image" Target="../media/image276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8.png"/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9.png"/><Relationship Id="rId1" Type="http://schemas.openxmlformats.org/officeDocument/2006/relationships/slideLayout" Target="../slideLayouts/slideLayout11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38.png"/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0.png"/><Relationship Id="rId1" Type="http://schemas.openxmlformats.org/officeDocument/2006/relationships/slideLayout" Target="../slideLayouts/slideLayout1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41.png"/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solidFill>
            <a:schemeClr val="tx2"/>
          </a:solidFill>
        </p:spPr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1631504" y="1556792"/>
            <a:ext cx="8280920" cy="3302860"/>
          </a:xfrm>
          <a:prstGeom prst="rect">
            <a:avLst/>
          </a:prstGeom>
          <a:noFill/>
        </p:spPr>
        <p:txBody>
          <a:bodyPr/>
          <a:lstStyle/>
          <a:p>
            <a:pPr algn="ctr"/>
            <a:r>
              <a:rPr lang="de-DE" dirty="0" smtClean="0"/>
              <a:t>Freigabe Ihrer Präsentation</a:t>
            </a:r>
          </a:p>
          <a:p>
            <a:pPr algn="ctr"/>
            <a:endParaRPr lang="de-DE" sz="1000" dirty="0"/>
          </a:p>
          <a:p>
            <a:pPr algn="ctr">
              <a:spcAft>
                <a:spcPts val="1000"/>
              </a:spcAft>
            </a:pPr>
            <a:r>
              <a:rPr lang="de-DE" sz="1300" dirty="0"/>
              <a:t>Zur Einhaltung der Corporate-Design-Richtlinien müssen folgende Präsentationen/Dokumente zur Freigabe dem Bereich „Operatives Geschäft“ vorgelegt werden:</a:t>
            </a:r>
          </a:p>
          <a:p>
            <a:pPr algn="ctr">
              <a:spcAft>
                <a:spcPts val="1000"/>
              </a:spcAft>
            </a:pPr>
            <a:r>
              <a:rPr lang="de-DE" sz="1300" b="0" dirty="0"/>
              <a:t>Präsentationen, die vor Ort bei Dritten (Kunde, Partner etc.) gezeigt werden</a:t>
            </a:r>
          </a:p>
          <a:p>
            <a:pPr algn="ctr">
              <a:spcAft>
                <a:spcPts val="1000"/>
              </a:spcAft>
            </a:pPr>
            <a:r>
              <a:rPr lang="de-DE" sz="1300" b="0" dirty="0"/>
              <a:t>Präsentationen, die auf Veranstaltungen gezeigt werden auf denen </a:t>
            </a:r>
            <a:br>
              <a:rPr lang="de-DE" sz="1300" b="0" dirty="0"/>
            </a:br>
            <a:r>
              <a:rPr lang="de-DE" sz="1300" b="0" dirty="0"/>
              <a:t>Externe anwesend sind</a:t>
            </a:r>
          </a:p>
          <a:p>
            <a:pPr algn="ctr">
              <a:spcAft>
                <a:spcPts val="1000"/>
              </a:spcAft>
            </a:pPr>
            <a:r>
              <a:rPr lang="de-DE" sz="1300" b="0" dirty="0"/>
              <a:t>Poster, Broschüren, Flyer etc. die extern gezeigt werden </a:t>
            </a:r>
            <a:br>
              <a:rPr lang="de-DE" sz="1300" b="0" dirty="0"/>
            </a:br>
            <a:r>
              <a:rPr lang="de-DE" sz="1300" b="0" dirty="0"/>
              <a:t>(auf Veranstaltungen oder beim Kunden vor Ort)</a:t>
            </a:r>
          </a:p>
          <a:p>
            <a:pPr algn="ctr">
              <a:spcAft>
                <a:spcPts val="1000"/>
              </a:spcAft>
            </a:pPr>
            <a:r>
              <a:rPr lang="de-DE" sz="1300" b="0" dirty="0"/>
              <a:t>Nicht hiervon betroffen sind u. a. interne Präsentationen, nur für einen Kunden bestimmte Präsentationen (z. B. DAK-G), Protokolle, (Freigabe-)Dokumentationen, Präsentationen des BR oder in Gremien gezeigte Unterlagen. 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2675616" y="5059354"/>
            <a:ext cx="6876768" cy="741940"/>
          </a:xfrm>
          <a:prstGeom prst="roundRect">
            <a:avLst>
              <a:gd name="adj" fmla="val 9101"/>
            </a:avLst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Ihr Kontakt</a:t>
            </a:r>
            <a:r>
              <a:rPr lang="de-DE" sz="1200" dirty="0">
                <a:solidFill>
                  <a:schemeClr val="tx1"/>
                </a:solidFill>
              </a:rPr>
              <a:t/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Andreas Pschera (Pressesprecher), Telefon +49 201 89069-029, andreas.pschera@bitmarck.de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nb-NO" sz="1200" dirty="0">
                <a:solidFill>
                  <a:schemeClr val="tx1"/>
                </a:solidFill>
              </a:rPr>
              <a:t>Semiha Tagrikulu (Grafikdesignerin), Telefon +49 201 89069-165, semiha.tagrikulu@bitmarck.de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188640"/>
            <a:ext cx="269952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0144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</a:t>
            </a:r>
            <a:endParaRPr lang="de-DE" dirty="0"/>
          </a:p>
        </p:txBody>
      </p:sp>
      <p:grpSp>
        <p:nvGrpSpPr>
          <p:cNvPr id="103" name="Gruppieren 102"/>
          <p:cNvGrpSpPr/>
          <p:nvPr/>
        </p:nvGrpSpPr>
        <p:grpSpPr>
          <a:xfrm>
            <a:off x="2072138" y="2164130"/>
            <a:ext cx="697111" cy="697111"/>
            <a:chOff x="573534" y="3068960"/>
            <a:chExt cx="697111" cy="697111"/>
          </a:xfrm>
        </p:grpSpPr>
        <p:sp>
          <p:nvSpPr>
            <p:cNvPr id="104" name="Ellipse 103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5" name="Grafik 10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317" y="3172809"/>
              <a:ext cx="472480" cy="472480"/>
            </a:xfrm>
            <a:prstGeom prst="rect">
              <a:avLst/>
            </a:prstGeom>
          </p:spPr>
        </p:pic>
      </p:grpSp>
      <p:grpSp>
        <p:nvGrpSpPr>
          <p:cNvPr id="115" name="Gruppieren 114"/>
          <p:cNvGrpSpPr/>
          <p:nvPr/>
        </p:nvGrpSpPr>
        <p:grpSpPr>
          <a:xfrm>
            <a:off x="2891393" y="2164130"/>
            <a:ext cx="697111" cy="697111"/>
            <a:chOff x="1389967" y="3068960"/>
            <a:chExt cx="697111" cy="697111"/>
          </a:xfrm>
        </p:grpSpPr>
        <p:sp>
          <p:nvSpPr>
            <p:cNvPr id="116" name="Ellipse 115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7" name="Grafik 11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25" name="Gruppieren 224"/>
          <p:cNvGrpSpPr/>
          <p:nvPr/>
        </p:nvGrpSpPr>
        <p:grpSpPr>
          <a:xfrm>
            <a:off x="5349158" y="2164130"/>
            <a:ext cx="697111" cy="697111"/>
            <a:chOff x="3839266" y="4005064"/>
            <a:chExt cx="697111" cy="697111"/>
          </a:xfrm>
        </p:grpSpPr>
        <p:sp>
          <p:nvSpPr>
            <p:cNvPr id="226" name="Ellipse 225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7" name="Grafik 22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4648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28" name="Gruppieren 227"/>
          <p:cNvGrpSpPr/>
          <p:nvPr/>
        </p:nvGrpSpPr>
        <p:grpSpPr>
          <a:xfrm>
            <a:off x="6987668" y="2164130"/>
            <a:ext cx="697111" cy="697111"/>
            <a:chOff x="5472132" y="4005064"/>
            <a:chExt cx="697111" cy="697111"/>
          </a:xfrm>
        </p:grpSpPr>
        <p:sp>
          <p:nvSpPr>
            <p:cNvPr id="229" name="Ellipse 228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0" name="Grafik 22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4108913"/>
              <a:ext cx="472480" cy="472480"/>
            </a:xfrm>
            <a:prstGeom prst="rect">
              <a:avLst/>
            </a:prstGeom>
          </p:spPr>
        </p:pic>
      </p:grpSp>
      <p:grpSp>
        <p:nvGrpSpPr>
          <p:cNvPr id="231" name="Gruppieren 230"/>
          <p:cNvGrpSpPr/>
          <p:nvPr/>
        </p:nvGrpSpPr>
        <p:grpSpPr>
          <a:xfrm>
            <a:off x="8626178" y="2164130"/>
            <a:ext cx="697111" cy="697111"/>
            <a:chOff x="7104998" y="4005064"/>
            <a:chExt cx="697111" cy="697111"/>
          </a:xfrm>
        </p:grpSpPr>
        <p:sp>
          <p:nvSpPr>
            <p:cNvPr id="232" name="Ellipse 231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3" name="Grafik 23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7259" b="7259"/>
            <a:stretch/>
          </p:blipFill>
          <p:spPr>
            <a:xfrm>
              <a:off x="7217314" y="4083512"/>
              <a:ext cx="472480" cy="472480"/>
            </a:xfrm>
            <a:prstGeom prst="rect">
              <a:avLst/>
            </a:prstGeom>
          </p:spPr>
        </p:pic>
      </p:grpSp>
      <p:grpSp>
        <p:nvGrpSpPr>
          <p:cNvPr id="234" name="Gruppieren 233"/>
          <p:cNvGrpSpPr/>
          <p:nvPr/>
        </p:nvGrpSpPr>
        <p:grpSpPr>
          <a:xfrm>
            <a:off x="9445432" y="2164130"/>
            <a:ext cx="697111" cy="697111"/>
            <a:chOff x="7921427" y="4005064"/>
            <a:chExt cx="697111" cy="697111"/>
          </a:xfrm>
        </p:grpSpPr>
        <p:sp>
          <p:nvSpPr>
            <p:cNvPr id="235" name="Ellipse 234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6" name="Grafik 23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0" name="Gruppieren 239"/>
          <p:cNvGrpSpPr/>
          <p:nvPr/>
        </p:nvGrpSpPr>
        <p:grpSpPr>
          <a:xfrm>
            <a:off x="4529903" y="2164130"/>
            <a:ext cx="697111" cy="697111"/>
            <a:chOff x="3022833" y="4005064"/>
            <a:chExt cx="697111" cy="697111"/>
          </a:xfrm>
        </p:grpSpPr>
        <p:sp>
          <p:nvSpPr>
            <p:cNvPr id="241" name="Ellipse 240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2" name="Grafik 24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3" name="Gruppieren 242"/>
          <p:cNvGrpSpPr/>
          <p:nvPr/>
        </p:nvGrpSpPr>
        <p:grpSpPr>
          <a:xfrm>
            <a:off x="6168413" y="2164130"/>
            <a:ext cx="697111" cy="697111"/>
            <a:chOff x="4655699" y="4005064"/>
            <a:chExt cx="697111" cy="697111"/>
          </a:xfrm>
        </p:grpSpPr>
        <p:sp>
          <p:nvSpPr>
            <p:cNvPr id="244" name="Ellipse 243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5" name="Grafik 24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6" name="Gruppieren 245"/>
          <p:cNvGrpSpPr/>
          <p:nvPr/>
        </p:nvGrpSpPr>
        <p:grpSpPr>
          <a:xfrm>
            <a:off x="7806923" y="2164130"/>
            <a:ext cx="697111" cy="697111"/>
            <a:chOff x="6288565" y="4005064"/>
            <a:chExt cx="697111" cy="697111"/>
          </a:xfrm>
        </p:grpSpPr>
        <p:sp>
          <p:nvSpPr>
            <p:cNvPr id="247" name="Ellipse 246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8" name="Grafik 247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98803" y="4115302"/>
              <a:ext cx="476636" cy="476636"/>
            </a:xfrm>
            <a:prstGeom prst="rect">
              <a:avLst/>
            </a:prstGeom>
          </p:spPr>
        </p:pic>
      </p:grpSp>
      <p:grpSp>
        <p:nvGrpSpPr>
          <p:cNvPr id="252" name="Gruppieren 251"/>
          <p:cNvGrpSpPr/>
          <p:nvPr/>
        </p:nvGrpSpPr>
        <p:grpSpPr>
          <a:xfrm>
            <a:off x="3710648" y="2164130"/>
            <a:ext cx="697111" cy="697111"/>
            <a:chOff x="2206400" y="4941168"/>
            <a:chExt cx="697111" cy="697111"/>
          </a:xfrm>
        </p:grpSpPr>
        <p:sp>
          <p:nvSpPr>
            <p:cNvPr id="253" name="Ellipse 252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4" name="Grafik 25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8330" y="5030967"/>
              <a:ext cx="499198" cy="499198"/>
            </a:xfrm>
            <a:prstGeom prst="rect">
              <a:avLst/>
            </a:prstGeom>
          </p:spPr>
        </p:pic>
      </p:grpSp>
      <p:grpSp>
        <p:nvGrpSpPr>
          <p:cNvPr id="219" name="Gruppieren 218"/>
          <p:cNvGrpSpPr/>
          <p:nvPr/>
        </p:nvGrpSpPr>
        <p:grpSpPr>
          <a:xfrm>
            <a:off x="6984871" y="3021370"/>
            <a:ext cx="697111" cy="697111"/>
            <a:chOff x="7921427" y="2155825"/>
            <a:chExt cx="697111" cy="697111"/>
          </a:xfrm>
        </p:grpSpPr>
        <p:sp>
          <p:nvSpPr>
            <p:cNvPr id="220" name="Ellipse 219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1" name="Grafik 22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22" name="Gruppieren 221"/>
          <p:cNvGrpSpPr/>
          <p:nvPr/>
        </p:nvGrpSpPr>
        <p:grpSpPr>
          <a:xfrm>
            <a:off x="3704127" y="3021370"/>
            <a:ext cx="697111" cy="697111"/>
            <a:chOff x="2206400" y="4005064"/>
            <a:chExt cx="697111" cy="697111"/>
          </a:xfrm>
        </p:grpSpPr>
        <p:sp>
          <p:nvSpPr>
            <p:cNvPr id="223" name="Ellipse 222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4" name="Grafik 22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0249" y="4125847"/>
              <a:ext cx="472480" cy="472480"/>
            </a:xfrm>
            <a:prstGeom prst="rect">
              <a:avLst/>
            </a:prstGeom>
          </p:spPr>
        </p:pic>
      </p:grpSp>
      <p:grpSp>
        <p:nvGrpSpPr>
          <p:cNvPr id="237" name="Gruppieren 236"/>
          <p:cNvGrpSpPr/>
          <p:nvPr/>
        </p:nvGrpSpPr>
        <p:grpSpPr>
          <a:xfrm>
            <a:off x="2063755" y="3021370"/>
            <a:ext cx="697111" cy="697111"/>
            <a:chOff x="1389967" y="4005064"/>
            <a:chExt cx="697111" cy="697111"/>
          </a:xfrm>
        </p:grpSpPr>
        <p:sp>
          <p:nvSpPr>
            <p:cNvPr id="238" name="Ellipse 237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9" name="Grafik 23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9" name="Gruppieren 248"/>
          <p:cNvGrpSpPr/>
          <p:nvPr/>
        </p:nvGrpSpPr>
        <p:grpSpPr>
          <a:xfrm>
            <a:off x="2883941" y="3021370"/>
            <a:ext cx="697111" cy="697111"/>
            <a:chOff x="573534" y="4941168"/>
            <a:chExt cx="697111" cy="697111"/>
          </a:xfrm>
        </p:grpSpPr>
        <p:sp>
          <p:nvSpPr>
            <p:cNvPr id="250" name="Ellipse 249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1" name="Grafik 250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255" name="Gruppieren 254"/>
          <p:cNvGrpSpPr/>
          <p:nvPr/>
        </p:nvGrpSpPr>
        <p:grpSpPr>
          <a:xfrm>
            <a:off x="5344499" y="3021370"/>
            <a:ext cx="697111" cy="697111"/>
            <a:chOff x="3839266" y="4941168"/>
            <a:chExt cx="697111" cy="697111"/>
          </a:xfrm>
        </p:grpSpPr>
        <p:sp>
          <p:nvSpPr>
            <p:cNvPr id="256" name="Ellipse 255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7" name="Grafik 256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58" name="Gruppieren 257"/>
          <p:cNvGrpSpPr/>
          <p:nvPr/>
        </p:nvGrpSpPr>
        <p:grpSpPr>
          <a:xfrm>
            <a:off x="4524313" y="3021370"/>
            <a:ext cx="697111" cy="697111"/>
            <a:chOff x="3022833" y="4941168"/>
            <a:chExt cx="697111" cy="697111"/>
          </a:xfrm>
        </p:grpSpPr>
        <p:sp>
          <p:nvSpPr>
            <p:cNvPr id="259" name="Ellipse 258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0" name="Grafik 259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61" name="Gruppieren 260"/>
          <p:cNvGrpSpPr/>
          <p:nvPr/>
        </p:nvGrpSpPr>
        <p:grpSpPr>
          <a:xfrm>
            <a:off x="6164685" y="3021370"/>
            <a:ext cx="697111" cy="697111"/>
            <a:chOff x="4655699" y="4941168"/>
            <a:chExt cx="697111" cy="697111"/>
          </a:xfrm>
        </p:grpSpPr>
        <p:sp>
          <p:nvSpPr>
            <p:cNvPr id="262" name="Ellipse 261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3" name="Grafik 262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081" y="5036550"/>
              <a:ext cx="472480" cy="472480"/>
            </a:xfrm>
            <a:prstGeom prst="rect">
              <a:avLst/>
            </a:prstGeom>
          </p:spPr>
        </p:pic>
      </p:grpSp>
      <p:grpSp>
        <p:nvGrpSpPr>
          <p:cNvPr id="273" name="Gruppieren 272"/>
          <p:cNvGrpSpPr/>
          <p:nvPr/>
        </p:nvGrpSpPr>
        <p:grpSpPr>
          <a:xfrm>
            <a:off x="9445431" y="3021370"/>
            <a:ext cx="697111" cy="697111"/>
            <a:chOff x="7104998" y="3068960"/>
            <a:chExt cx="697111" cy="697111"/>
          </a:xfrm>
        </p:grpSpPr>
        <p:sp>
          <p:nvSpPr>
            <p:cNvPr id="274" name="Ellipse 273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5" name="Grafik 274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03" name="Gruppieren 302"/>
          <p:cNvGrpSpPr/>
          <p:nvPr/>
        </p:nvGrpSpPr>
        <p:grpSpPr>
          <a:xfrm>
            <a:off x="8625243" y="3021370"/>
            <a:ext cx="697111" cy="697111"/>
            <a:chOff x="3022833" y="3068960"/>
            <a:chExt cx="697111" cy="697111"/>
          </a:xfrm>
        </p:grpSpPr>
        <p:sp>
          <p:nvSpPr>
            <p:cNvPr id="304" name="Ellipse 303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5" name="Grafik 304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85" name="Gruppieren 284"/>
          <p:cNvGrpSpPr/>
          <p:nvPr/>
        </p:nvGrpSpPr>
        <p:grpSpPr>
          <a:xfrm>
            <a:off x="4539994" y="3878610"/>
            <a:ext cx="697111" cy="697111"/>
            <a:chOff x="7104998" y="4005064"/>
            <a:chExt cx="697111" cy="697111"/>
          </a:xfrm>
        </p:grpSpPr>
        <p:sp>
          <p:nvSpPr>
            <p:cNvPr id="286" name="Ellipse 285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7" name="Grafik 286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94" name="Gruppieren 293"/>
          <p:cNvGrpSpPr/>
          <p:nvPr/>
        </p:nvGrpSpPr>
        <p:grpSpPr>
          <a:xfrm>
            <a:off x="7809002" y="3056645"/>
            <a:ext cx="697111" cy="697111"/>
            <a:chOff x="573534" y="4941168"/>
            <a:chExt cx="697111" cy="697111"/>
          </a:xfrm>
        </p:grpSpPr>
        <p:sp>
          <p:nvSpPr>
            <p:cNvPr id="295" name="Ellipse 294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6" name="Grafik 295"/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73" t="10373" r="10373" b="10373"/>
            <a:stretch/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136" name="Gruppieren 135"/>
          <p:cNvGrpSpPr/>
          <p:nvPr/>
        </p:nvGrpSpPr>
        <p:grpSpPr>
          <a:xfrm>
            <a:off x="3710317" y="3903115"/>
            <a:ext cx="697111" cy="697111"/>
            <a:chOff x="1389967" y="4005064"/>
            <a:chExt cx="697111" cy="697111"/>
          </a:xfrm>
        </p:grpSpPr>
        <p:sp>
          <p:nvSpPr>
            <p:cNvPr id="137" name="Ellipse 136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8" name="Grafik 137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/>
          <p:nvPr/>
        </p:nvGrpSpPr>
        <p:grpSpPr>
          <a:xfrm>
            <a:off x="2063754" y="3878114"/>
            <a:ext cx="697111" cy="697111"/>
            <a:chOff x="3022833" y="4005064"/>
            <a:chExt cx="697111" cy="697111"/>
          </a:xfrm>
        </p:grpSpPr>
        <p:sp>
          <p:nvSpPr>
            <p:cNvPr id="154" name="Ellipse 153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5" name="Grafik 154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56" name="Gruppieren 155"/>
          <p:cNvGrpSpPr/>
          <p:nvPr/>
        </p:nvGrpSpPr>
        <p:grpSpPr>
          <a:xfrm>
            <a:off x="2063755" y="3021370"/>
            <a:ext cx="697111" cy="697111"/>
            <a:chOff x="1389967" y="4005064"/>
            <a:chExt cx="697111" cy="697111"/>
          </a:xfrm>
        </p:grpSpPr>
        <p:sp>
          <p:nvSpPr>
            <p:cNvPr id="157" name="Ellipse 156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8" name="Grafik 157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59" name="Gruppieren 158"/>
          <p:cNvGrpSpPr/>
          <p:nvPr/>
        </p:nvGrpSpPr>
        <p:grpSpPr>
          <a:xfrm>
            <a:off x="2873181" y="3858394"/>
            <a:ext cx="697111" cy="697111"/>
            <a:chOff x="4655699" y="3068960"/>
            <a:chExt cx="697111" cy="697111"/>
          </a:xfrm>
        </p:grpSpPr>
        <p:sp>
          <p:nvSpPr>
            <p:cNvPr id="160" name="Ellipse 159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1" name="Grafik 160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62" name="Gruppieren 161"/>
          <p:cNvGrpSpPr/>
          <p:nvPr/>
        </p:nvGrpSpPr>
        <p:grpSpPr>
          <a:xfrm>
            <a:off x="6200505" y="3933068"/>
            <a:ext cx="697111" cy="697111"/>
            <a:chOff x="573534" y="3068960"/>
            <a:chExt cx="697111" cy="697111"/>
          </a:xfrm>
        </p:grpSpPr>
        <p:sp>
          <p:nvSpPr>
            <p:cNvPr id="163" name="Ellipse 162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4" name="Grafik 163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317" y="3172809"/>
              <a:ext cx="472480" cy="472480"/>
            </a:xfrm>
            <a:prstGeom prst="rect">
              <a:avLst/>
            </a:prstGeom>
          </p:spPr>
        </p:pic>
      </p:grpSp>
      <p:grpSp>
        <p:nvGrpSpPr>
          <p:cNvPr id="165" name="Gruppieren 164"/>
          <p:cNvGrpSpPr/>
          <p:nvPr/>
        </p:nvGrpSpPr>
        <p:grpSpPr>
          <a:xfrm>
            <a:off x="5370828" y="3891366"/>
            <a:ext cx="697111" cy="697111"/>
            <a:chOff x="573534" y="4941168"/>
            <a:chExt cx="697111" cy="697111"/>
          </a:xfrm>
        </p:grpSpPr>
        <p:sp>
          <p:nvSpPr>
            <p:cNvPr id="166" name="Ellipse 165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168" name="Gruppieren 167"/>
          <p:cNvGrpSpPr/>
          <p:nvPr/>
        </p:nvGrpSpPr>
        <p:grpSpPr>
          <a:xfrm>
            <a:off x="8659119" y="3918930"/>
            <a:ext cx="697111" cy="697111"/>
            <a:chOff x="7921427" y="3068960"/>
            <a:chExt cx="697111" cy="697111"/>
          </a:xfrm>
        </p:grpSpPr>
        <p:sp>
          <p:nvSpPr>
            <p:cNvPr id="169" name="Ellipse 168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0" name="Grafik 169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71" name="Gruppieren 170"/>
          <p:cNvGrpSpPr/>
          <p:nvPr/>
        </p:nvGrpSpPr>
        <p:grpSpPr>
          <a:xfrm>
            <a:off x="4524313" y="4742494"/>
            <a:ext cx="697111" cy="697111"/>
            <a:chOff x="2206400" y="3068960"/>
            <a:chExt cx="697111" cy="697111"/>
          </a:xfrm>
        </p:grpSpPr>
        <p:sp>
          <p:nvSpPr>
            <p:cNvPr id="172" name="Ellipse 171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3" name="Grafik 172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74" name="Gruppieren 173"/>
          <p:cNvGrpSpPr/>
          <p:nvPr/>
        </p:nvGrpSpPr>
        <p:grpSpPr>
          <a:xfrm>
            <a:off x="7014885" y="3918930"/>
            <a:ext cx="697111" cy="697111"/>
            <a:chOff x="3839266" y="3068960"/>
            <a:chExt cx="697111" cy="697111"/>
          </a:xfrm>
        </p:grpSpPr>
        <p:sp>
          <p:nvSpPr>
            <p:cNvPr id="175" name="Ellipse 174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6" name="Grafik 175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77" name="Gruppieren 176"/>
          <p:cNvGrpSpPr/>
          <p:nvPr/>
        </p:nvGrpSpPr>
        <p:grpSpPr>
          <a:xfrm>
            <a:off x="9481236" y="3918930"/>
            <a:ext cx="697111" cy="697111"/>
            <a:chOff x="5472132" y="3068960"/>
            <a:chExt cx="697111" cy="697111"/>
          </a:xfrm>
        </p:grpSpPr>
        <p:sp>
          <p:nvSpPr>
            <p:cNvPr id="178" name="Ellipse 177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9" name="Grafik 178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80" name="Gruppieren 179"/>
          <p:cNvGrpSpPr/>
          <p:nvPr/>
        </p:nvGrpSpPr>
        <p:grpSpPr>
          <a:xfrm>
            <a:off x="2880079" y="4742494"/>
            <a:ext cx="697111" cy="697111"/>
            <a:chOff x="7104998" y="3068960"/>
            <a:chExt cx="697111" cy="697111"/>
          </a:xfrm>
          <a:solidFill>
            <a:schemeClr val="tx2"/>
          </a:solidFill>
        </p:grpSpPr>
        <p:sp>
          <p:nvSpPr>
            <p:cNvPr id="187" name="Ellipse 186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8" name="Grafik 187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3181276"/>
              <a:ext cx="472480" cy="472480"/>
            </a:xfrm>
            <a:prstGeom prst="rect">
              <a:avLst/>
            </a:prstGeom>
            <a:grpFill/>
          </p:spPr>
        </p:pic>
      </p:grpSp>
      <p:grpSp>
        <p:nvGrpSpPr>
          <p:cNvPr id="189" name="Gruppieren 188"/>
          <p:cNvGrpSpPr/>
          <p:nvPr/>
        </p:nvGrpSpPr>
        <p:grpSpPr>
          <a:xfrm>
            <a:off x="3702196" y="4742494"/>
            <a:ext cx="697111" cy="697111"/>
            <a:chOff x="7921427" y="3068960"/>
            <a:chExt cx="697111" cy="697111"/>
          </a:xfrm>
        </p:grpSpPr>
        <p:sp>
          <p:nvSpPr>
            <p:cNvPr id="190" name="Ellipse 189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1" name="Grafik 190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2" name="Gruppieren 191"/>
          <p:cNvGrpSpPr/>
          <p:nvPr/>
        </p:nvGrpSpPr>
        <p:grpSpPr>
          <a:xfrm>
            <a:off x="7837002" y="3918930"/>
            <a:ext cx="697111" cy="697111"/>
            <a:chOff x="4655699" y="3068960"/>
            <a:chExt cx="697111" cy="697111"/>
          </a:xfrm>
        </p:grpSpPr>
        <p:sp>
          <p:nvSpPr>
            <p:cNvPr id="193" name="Ellipse 192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4" name="Grafik 193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5" name="Gruppieren 194"/>
          <p:cNvGrpSpPr/>
          <p:nvPr/>
        </p:nvGrpSpPr>
        <p:grpSpPr>
          <a:xfrm>
            <a:off x="2057962" y="4742494"/>
            <a:ext cx="697111" cy="697111"/>
            <a:chOff x="6288565" y="3068960"/>
            <a:chExt cx="697111" cy="697111"/>
          </a:xfrm>
        </p:grpSpPr>
        <p:sp>
          <p:nvSpPr>
            <p:cNvPr id="196" name="Ellipse 195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7" name="Grafik 196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8" name="Gruppieren 197"/>
          <p:cNvGrpSpPr/>
          <p:nvPr/>
        </p:nvGrpSpPr>
        <p:grpSpPr>
          <a:xfrm>
            <a:off x="5346430" y="4742494"/>
            <a:ext cx="697111" cy="697111"/>
            <a:chOff x="6288565" y="4941168"/>
            <a:chExt cx="697111" cy="697111"/>
          </a:xfrm>
        </p:grpSpPr>
        <p:sp>
          <p:nvSpPr>
            <p:cNvPr id="199" name="Ellipse 198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0" name="Grafik 199"/>
            <p:cNvPicPr>
              <a:picLocks noChangeAspect="1"/>
            </p:cNvPicPr>
            <p:nvPr/>
          </p:nvPicPr>
          <p:blipFill rotWithShape="1"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76484" y="5029087"/>
              <a:ext cx="521274" cy="521274"/>
            </a:xfrm>
            <a:prstGeom prst="rect">
              <a:avLst/>
            </a:prstGeom>
          </p:spPr>
        </p:pic>
      </p:grpSp>
      <p:grpSp>
        <p:nvGrpSpPr>
          <p:cNvPr id="201" name="Gruppieren 200"/>
          <p:cNvGrpSpPr/>
          <p:nvPr/>
        </p:nvGrpSpPr>
        <p:grpSpPr>
          <a:xfrm>
            <a:off x="2880079" y="5594108"/>
            <a:ext cx="697111" cy="697111"/>
            <a:chOff x="1389967" y="3068960"/>
            <a:chExt cx="697111" cy="697111"/>
          </a:xfrm>
        </p:grpSpPr>
        <p:sp>
          <p:nvSpPr>
            <p:cNvPr id="202" name="Ellipse 201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3" name="Grafik 202"/>
            <p:cNvPicPr>
              <a:picLocks noChangeAspect="1"/>
            </p:cNvPicPr>
            <p:nvPr/>
          </p:nvPicPr>
          <p:blipFill rotWithShape="1"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27" t="15427" r="15427" b="15427"/>
            <a:stretch/>
          </p:blipFill>
          <p:spPr>
            <a:xfrm>
              <a:off x="150228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04" name="Gruppieren 203"/>
          <p:cNvGrpSpPr/>
          <p:nvPr/>
        </p:nvGrpSpPr>
        <p:grpSpPr>
          <a:xfrm>
            <a:off x="6151826" y="4728357"/>
            <a:ext cx="697111" cy="697111"/>
            <a:chOff x="7921427" y="4005064"/>
            <a:chExt cx="697111" cy="697111"/>
          </a:xfrm>
        </p:grpSpPr>
        <p:sp>
          <p:nvSpPr>
            <p:cNvPr id="205" name="Ellipse 204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6" name="Grafik 205"/>
            <p:cNvPicPr>
              <a:picLocks noChangeAspect="1"/>
            </p:cNvPicPr>
            <p:nvPr/>
          </p:nvPicPr>
          <p:blipFill rotWithShape="1"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0" t="3280" r="3280" b="3280"/>
            <a:stretch/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07" name="Gruppieren 206"/>
          <p:cNvGrpSpPr/>
          <p:nvPr/>
        </p:nvGrpSpPr>
        <p:grpSpPr>
          <a:xfrm>
            <a:off x="3702196" y="5594108"/>
            <a:ext cx="697111" cy="697111"/>
            <a:chOff x="4655699" y="3068960"/>
            <a:chExt cx="697111" cy="697111"/>
          </a:xfrm>
        </p:grpSpPr>
        <p:sp>
          <p:nvSpPr>
            <p:cNvPr id="208" name="Ellipse 207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9" name="Grafik 208"/>
            <p:cNvPicPr>
              <a:picLocks noChangeAspect="1"/>
            </p:cNvPicPr>
            <p:nvPr/>
          </p:nvPicPr>
          <p:blipFill rotWithShape="1"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77" t="6577" r="6577" b="6577"/>
            <a:stretch/>
          </p:blipFill>
          <p:spPr>
            <a:xfrm>
              <a:off x="4743231" y="3156492"/>
              <a:ext cx="522048" cy="522048"/>
            </a:xfrm>
            <a:prstGeom prst="rect">
              <a:avLst/>
            </a:prstGeom>
          </p:spPr>
        </p:pic>
      </p:grpSp>
      <p:grpSp>
        <p:nvGrpSpPr>
          <p:cNvPr id="210" name="Gruppieren 209"/>
          <p:cNvGrpSpPr/>
          <p:nvPr/>
        </p:nvGrpSpPr>
        <p:grpSpPr>
          <a:xfrm>
            <a:off x="7758529" y="4728357"/>
            <a:ext cx="697111" cy="697111"/>
            <a:chOff x="6288565" y="4941168"/>
            <a:chExt cx="697111" cy="697111"/>
          </a:xfrm>
        </p:grpSpPr>
        <p:sp>
          <p:nvSpPr>
            <p:cNvPr id="211" name="Ellipse 210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2" name="Grafik 211"/>
            <p:cNvPicPr>
              <a:picLocks noChangeAspect="1"/>
            </p:cNvPicPr>
            <p:nvPr/>
          </p:nvPicPr>
          <p:blipFill rotWithShape="1"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0" t="5137" r="9445" b="6068"/>
            <a:stretch/>
          </p:blipFill>
          <p:spPr>
            <a:xfrm>
              <a:off x="6400707" y="5053310"/>
              <a:ext cx="472828" cy="472828"/>
            </a:xfrm>
            <a:prstGeom prst="rect">
              <a:avLst/>
            </a:prstGeom>
          </p:spPr>
        </p:pic>
      </p:grpSp>
      <p:grpSp>
        <p:nvGrpSpPr>
          <p:cNvPr id="213" name="Gruppieren 212"/>
          <p:cNvGrpSpPr/>
          <p:nvPr/>
        </p:nvGrpSpPr>
        <p:grpSpPr>
          <a:xfrm>
            <a:off x="6962593" y="4728358"/>
            <a:ext cx="697111" cy="697111"/>
            <a:chOff x="7921427" y="4005064"/>
            <a:chExt cx="697111" cy="697111"/>
          </a:xfrm>
        </p:grpSpPr>
        <p:sp>
          <p:nvSpPr>
            <p:cNvPr id="214" name="Ellipse 213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5" name="Grafik 214"/>
            <p:cNvPicPr>
              <a:picLocks noChangeAspect="1"/>
            </p:cNvPicPr>
            <p:nvPr/>
          </p:nvPicPr>
          <p:blipFill rotWithShape="1"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501" t="5505" r="16511" b="5505"/>
            <a:stretch/>
          </p:blipFill>
          <p:spPr>
            <a:xfrm>
              <a:off x="79909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16" name="Gruppieren 215"/>
          <p:cNvGrpSpPr/>
          <p:nvPr/>
        </p:nvGrpSpPr>
        <p:grpSpPr>
          <a:xfrm>
            <a:off x="2057962" y="5594108"/>
            <a:ext cx="697111" cy="697111"/>
            <a:chOff x="6288565" y="4005064"/>
            <a:chExt cx="697111" cy="697111"/>
          </a:xfrm>
        </p:grpSpPr>
        <p:sp>
          <p:nvSpPr>
            <p:cNvPr id="217" name="Ellipse 216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8" name="Grafik 217"/>
            <p:cNvPicPr>
              <a:picLocks noChangeAspect="1"/>
            </p:cNvPicPr>
            <p:nvPr/>
          </p:nvPicPr>
          <p:blipFill rotWithShape="1"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26" t="7926" r="7926" b="7926"/>
            <a:stretch/>
          </p:blipFill>
          <p:spPr>
            <a:xfrm>
              <a:off x="6378238" y="4094737"/>
              <a:ext cx="517766" cy="517766"/>
            </a:xfrm>
            <a:prstGeom prst="rect">
              <a:avLst/>
            </a:prstGeom>
          </p:spPr>
        </p:pic>
      </p:grpSp>
      <p:grpSp>
        <p:nvGrpSpPr>
          <p:cNvPr id="345" name="Gruppieren 344"/>
          <p:cNvGrpSpPr/>
          <p:nvPr/>
        </p:nvGrpSpPr>
        <p:grpSpPr>
          <a:xfrm>
            <a:off x="8610886" y="4728356"/>
            <a:ext cx="697111" cy="697111"/>
            <a:chOff x="573534" y="4941168"/>
            <a:chExt cx="697111" cy="697111"/>
          </a:xfrm>
        </p:grpSpPr>
        <p:sp>
          <p:nvSpPr>
            <p:cNvPr id="346" name="Ellipse 345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7" name="Grafik 346"/>
            <p:cNvPicPr>
              <a:picLocks noChangeAspect="1"/>
            </p:cNvPicPr>
            <p:nvPr/>
          </p:nvPicPr>
          <p:blipFill rotWithShape="1"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65" t="2865" r="2865" b="2865"/>
            <a:stretch/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348" name="Gruppieren 347"/>
          <p:cNvGrpSpPr/>
          <p:nvPr/>
        </p:nvGrpSpPr>
        <p:grpSpPr>
          <a:xfrm>
            <a:off x="9457364" y="4728356"/>
            <a:ext cx="697111" cy="697111"/>
            <a:chOff x="4655699" y="2155825"/>
            <a:chExt cx="697111" cy="697111"/>
          </a:xfrm>
        </p:grpSpPr>
        <p:sp>
          <p:nvSpPr>
            <p:cNvPr id="349" name="Ellipse 348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0" name="Grafik 349"/>
            <p:cNvPicPr>
              <a:picLocks noChangeAspect="1"/>
            </p:cNvPicPr>
            <p:nvPr/>
          </p:nvPicPr>
          <p:blipFill rotWithShape="1"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096" t="11096" r="11096" b="11096"/>
            <a:stretch/>
          </p:blipFill>
          <p:spPr>
            <a:xfrm>
              <a:off x="4771197" y="2271323"/>
              <a:ext cx="466116" cy="4661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23792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/>
        </p:nvSpPr>
        <p:spPr>
          <a:xfrm rot="21275342">
            <a:off x="8779437" y="5209157"/>
            <a:ext cx="2664296" cy="73957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b="1" dirty="0"/>
              <a:t>Hier steht ein Stör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780835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chtungspfeil 4"/>
          <p:cNvSpPr/>
          <p:nvPr/>
        </p:nvSpPr>
        <p:spPr>
          <a:xfrm>
            <a:off x="0" y="5157192"/>
            <a:ext cx="3167904" cy="792088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0" rIns="0" bIns="0" rtlCol="0" anchor="ctr"/>
          <a:lstStyle/>
          <a:p>
            <a:r>
              <a:rPr lang="de-DE" sz="2000" b="1" dirty="0">
                <a:solidFill>
                  <a:schemeClr val="bg1"/>
                </a:solidFill>
              </a:rPr>
              <a:t>Hier steht ein Störer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8917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ussdiagramm: Verbindungsstelle zu einer anderen Seite 4"/>
          <p:cNvSpPr/>
          <p:nvPr/>
        </p:nvSpPr>
        <p:spPr>
          <a:xfrm>
            <a:off x="9829006" y="1502063"/>
            <a:ext cx="1655736" cy="1771126"/>
          </a:xfrm>
          <a:prstGeom prst="flowChartOffpage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Hier steht 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ein Störer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1" y="1584001"/>
            <a:ext cx="9109005" cy="38472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2244004" y="2340001"/>
            <a:ext cx="5436177" cy="230832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828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</a:t>
            </a:r>
            <a:endParaRPr lang="de-DE" dirty="0"/>
          </a:p>
        </p:txBody>
      </p:sp>
      <p:grpSp>
        <p:nvGrpSpPr>
          <p:cNvPr id="115" name="Gruppieren 114"/>
          <p:cNvGrpSpPr/>
          <p:nvPr/>
        </p:nvGrpSpPr>
        <p:grpSpPr>
          <a:xfrm>
            <a:off x="6996380" y="2161918"/>
            <a:ext cx="697111" cy="697111"/>
            <a:chOff x="1389967" y="3068960"/>
            <a:chExt cx="697111" cy="697111"/>
          </a:xfrm>
        </p:grpSpPr>
        <p:sp>
          <p:nvSpPr>
            <p:cNvPr id="116" name="Ellipse 115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7" name="Grafik 1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1112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25" name="Gruppieren 224"/>
          <p:cNvGrpSpPr/>
          <p:nvPr/>
        </p:nvGrpSpPr>
        <p:grpSpPr>
          <a:xfrm>
            <a:off x="2892845" y="2161918"/>
            <a:ext cx="697111" cy="697111"/>
            <a:chOff x="3839266" y="4005064"/>
            <a:chExt cx="697111" cy="697111"/>
          </a:xfrm>
        </p:grpSpPr>
        <p:sp>
          <p:nvSpPr>
            <p:cNvPr id="226" name="Ellipse 225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7" name="Grafik 22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420" r="2420"/>
            <a:stretch/>
          </p:blipFill>
          <p:spPr>
            <a:xfrm>
              <a:off x="3934648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0" name="Gruppieren 239"/>
          <p:cNvGrpSpPr/>
          <p:nvPr/>
        </p:nvGrpSpPr>
        <p:grpSpPr>
          <a:xfrm>
            <a:off x="4534259" y="2161918"/>
            <a:ext cx="697111" cy="697111"/>
            <a:chOff x="3022833" y="4005064"/>
            <a:chExt cx="697111" cy="697111"/>
          </a:xfrm>
        </p:grpSpPr>
        <p:sp>
          <p:nvSpPr>
            <p:cNvPr id="241" name="Ellipse 240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2" name="Grafik 24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58" name="Gruppieren 257"/>
          <p:cNvGrpSpPr/>
          <p:nvPr/>
        </p:nvGrpSpPr>
        <p:grpSpPr>
          <a:xfrm>
            <a:off x="5354966" y="2161918"/>
            <a:ext cx="697111" cy="697111"/>
            <a:chOff x="3022833" y="4941168"/>
            <a:chExt cx="697111" cy="697111"/>
          </a:xfrm>
        </p:grpSpPr>
        <p:sp>
          <p:nvSpPr>
            <p:cNvPr id="259" name="Ellipse 258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0" name="Grafik 259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81" t="7381" r="7381" b="7381"/>
            <a:stretch/>
          </p:blipFill>
          <p:spPr>
            <a:xfrm>
              <a:off x="3135149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61" name="Gruppieren 260"/>
          <p:cNvGrpSpPr/>
          <p:nvPr/>
        </p:nvGrpSpPr>
        <p:grpSpPr>
          <a:xfrm>
            <a:off x="6175673" y="2161918"/>
            <a:ext cx="697111" cy="697111"/>
            <a:chOff x="4655699" y="4941168"/>
            <a:chExt cx="697111" cy="697111"/>
          </a:xfrm>
        </p:grpSpPr>
        <p:sp>
          <p:nvSpPr>
            <p:cNvPr id="262" name="Ellipse 261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3" name="Grafik 26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8672" r="-6683"/>
            <a:stretch/>
          </p:blipFill>
          <p:spPr>
            <a:xfrm>
              <a:off x="4707547" y="5032511"/>
              <a:ext cx="593414" cy="514424"/>
            </a:xfrm>
            <a:prstGeom prst="rect">
              <a:avLst/>
            </a:prstGeom>
          </p:spPr>
        </p:pic>
      </p:grpSp>
      <p:grpSp>
        <p:nvGrpSpPr>
          <p:cNvPr id="276" name="Gruppieren 275"/>
          <p:cNvGrpSpPr/>
          <p:nvPr/>
        </p:nvGrpSpPr>
        <p:grpSpPr>
          <a:xfrm>
            <a:off x="8637794" y="2161918"/>
            <a:ext cx="697111" cy="697111"/>
            <a:chOff x="7921427" y="3068960"/>
            <a:chExt cx="697111" cy="697111"/>
          </a:xfrm>
        </p:grpSpPr>
        <p:sp>
          <p:nvSpPr>
            <p:cNvPr id="277" name="Ellipse 276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8" name="Grafik 27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88" name="Gruppieren 287"/>
          <p:cNvGrpSpPr/>
          <p:nvPr/>
        </p:nvGrpSpPr>
        <p:grpSpPr>
          <a:xfrm>
            <a:off x="3713552" y="2161918"/>
            <a:ext cx="697111" cy="697111"/>
            <a:chOff x="7921427" y="4005064"/>
            <a:chExt cx="697111" cy="697111"/>
          </a:xfrm>
        </p:grpSpPr>
        <p:sp>
          <p:nvSpPr>
            <p:cNvPr id="289" name="Ellipse 288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0" name="Grafik 289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55" b="-7255"/>
            <a:stretch/>
          </p:blipFill>
          <p:spPr>
            <a:xfrm>
              <a:off x="8003102" y="4086739"/>
              <a:ext cx="533762" cy="533762"/>
            </a:xfrm>
            <a:prstGeom prst="rect">
              <a:avLst/>
            </a:prstGeom>
          </p:spPr>
        </p:pic>
      </p:grpSp>
      <p:grpSp>
        <p:nvGrpSpPr>
          <p:cNvPr id="162" name="Gruppieren 161"/>
          <p:cNvGrpSpPr/>
          <p:nvPr/>
        </p:nvGrpSpPr>
        <p:grpSpPr>
          <a:xfrm>
            <a:off x="2072138" y="2161918"/>
            <a:ext cx="697111" cy="697111"/>
            <a:chOff x="2206400" y="2155825"/>
            <a:chExt cx="697111" cy="697111"/>
          </a:xfrm>
        </p:grpSpPr>
        <p:sp>
          <p:nvSpPr>
            <p:cNvPr id="163" name="Ellipse 162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4" name="Grafik 163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35" t="6135" r="6135" b="6135"/>
            <a:stretch/>
          </p:blipFill>
          <p:spPr>
            <a:xfrm>
              <a:off x="2332848" y="2282273"/>
              <a:ext cx="444218" cy="444218"/>
            </a:xfrm>
            <a:prstGeom prst="rect">
              <a:avLst/>
            </a:prstGeom>
          </p:spPr>
        </p:pic>
      </p:grpSp>
      <p:grpSp>
        <p:nvGrpSpPr>
          <p:cNvPr id="165" name="Gruppieren 164"/>
          <p:cNvGrpSpPr/>
          <p:nvPr/>
        </p:nvGrpSpPr>
        <p:grpSpPr>
          <a:xfrm>
            <a:off x="9458501" y="2161918"/>
            <a:ext cx="697111" cy="697111"/>
            <a:chOff x="573534" y="3068960"/>
            <a:chExt cx="697111" cy="697111"/>
          </a:xfrm>
        </p:grpSpPr>
        <p:sp>
          <p:nvSpPr>
            <p:cNvPr id="166" name="Ellipse 165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454" y="3172809"/>
              <a:ext cx="472480" cy="472480"/>
            </a:xfrm>
            <a:prstGeom prst="rect">
              <a:avLst/>
            </a:prstGeom>
          </p:spPr>
        </p:pic>
      </p:grpSp>
      <p:grpSp>
        <p:nvGrpSpPr>
          <p:cNvPr id="171" name="Gruppieren 170"/>
          <p:cNvGrpSpPr/>
          <p:nvPr/>
        </p:nvGrpSpPr>
        <p:grpSpPr>
          <a:xfrm>
            <a:off x="7817087" y="2161918"/>
            <a:ext cx="697111" cy="697111"/>
            <a:chOff x="7104998" y="4941168"/>
            <a:chExt cx="697111" cy="697111"/>
          </a:xfrm>
        </p:grpSpPr>
        <p:sp>
          <p:nvSpPr>
            <p:cNvPr id="172" name="Ellipse 171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3" name="Grafik 172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9220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73" name="Gruppieren 272"/>
          <p:cNvGrpSpPr/>
          <p:nvPr/>
        </p:nvGrpSpPr>
        <p:grpSpPr>
          <a:xfrm>
            <a:off x="8637794" y="3021712"/>
            <a:ext cx="697111" cy="697111"/>
            <a:chOff x="7104998" y="3068960"/>
            <a:chExt cx="697111" cy="697111"/>
          </a:xfrm>
        </p:grpSpPr>
        <p:sp>
          <p:nvSpPr>
            <p:cNvPr id="274" name="Ellipse 273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5" name="Grafik 27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67" name="Gruppieren 266"/>
          <p:cNvGrpSpPr/>
          <p:nvPr/>
        </p:nvGrpSpPr>
        <p:grpSpPr>
          <a:xfrm>
            <a:off x="9458501" y="3021712"/>
            <a:ext cx="697111" cy="697111"/>
            <a:chOff x="573534" y="3068960"/>
            <a:chExt cx="697111" cy="697111"/>
          </a:xfrm>
        </p:grpSpPr>
        <p:sp>
          <p:nvSpPr>
            <p:cNvPr id="268" name="Ellipse 267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9" name="Grafik 268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3193690"/>
              <a:ext cx="472480" cy="472480"/>
            </a:xfrm>
            <a:prstGeom prst="rect">
              <a:avLst/>
            </a:prstGeom>
          </p:spPr>
        </p:pic>
      </p:grpSp>
      <p:grpSp>
        <p:nvGrpSpPr>
          <p:cNvPr id="270" name="Gruppieren 269"/>
          <p:cNvGrpSpPr/>
          <p:nvPr/>
        </p:nvGrpSpPr>
        <p:grpSpPr>
          <a:xfrm>
            <a:off x="7817087" y="3021712"/>
            <a:ext cx="697111" cy="697111"/>
            <a:chOff x="2206400" y="3068960"/>
            <a:chExt cx="697111" cy="697111"/>
          </a:xfrm>
        </p:grpSpPr>
        <p:sp>
          <p:nvSpPr>
            <p:cNvPr id="271" name="Ellipse 270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2" name="Grafik 271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24" name="Gruppieren 323"/>
          <p:cNvGrpSpPr/>
          <p:nvPr/>
        </p:nvGrpSpPr>
        <p:grpSpPr>
          <a:xfrm>
            <a:off x="2892845" y="3021712"/>
            <a:ext cx="697111" cy="697111"/>
            <a:chOff x="3022833" y="3068960"/>
            <a:chExt cx="697111" cy="697111"/>
          </a:xfrm>
        </p:grpSpPr>
        <p:sp>
          <p:nvSpPr>
            <p:cNvPr id="325" name="Ellipse 324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6" name="Grafik 325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7240" y="3144680"/>
              <a:ext cx="545672" cy="545672"/>
            </a:xfrm>
            <a:prstGeom prst="rect">
              <a:avLst/>
            </a:prstGeom>
          </p:spPr>
        </p:pic>
      </p:grpSp>
      <p:grpSp>
        <p:nvGrpSpPr>
          <p:cNvPr id="156" name="Gruppieren 155"/>
          <p:cNvGrpSpPr/>
          <p:nvPr/>
        </p:nvGrpSpPr>
        <p:grpSpPr>
          <a:xfrm>
            <a:off x="4534259" y="3021712"/>
            <a:ext cx="697111" cy="697111"/>
            <a:chOff x="7104998" y="3068960"/>
            <a:chExt cx="697111" cy="697111"/>
          </a:xfrm>
        </p:grpSpPr>
        <p:sp>
          <p:nvSpPr>
            <p:cNvPr id="157" name="Ellipse 156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8" name="Grafik 157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8018" y="3132288"/>
              <a:ext cx="539916" cy="539916"/>
            </a:xfrm>
            <a:prstGeom prst="rect">
              <a:avLst/>
            </a:prstGeom>
          </p:spPr>
        </p:pic>
      </p:grpSp>
      <p:grpSp>
        <p:nvGrpSpPr>
          <p:cNvPr id="159" name="Gruppieren 158"/>
          <p:cNvGrpSpPr/>
          <p:nvPr/>
        </p:nvGrpSpPr>
        <p:grpSpPr>
          <a:xfrm>
            <a:off x="3713552" y="3021712"/>
            <a:ext cx="697111" cy="697111"/>
            <a:chOff x="4655699" y="2155825"/>
            <a:chExt cx="697111" cy="697111"/>
          </a:xfrm>
        </p:grpSpPr>
        <p:sp>
          <p:nvSpPr>
            <p:cNvPr id="160" name="Ellipse 159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1" name="Grafik 160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2250" y="2209318"/>
              <a:ext cx="578624" cy="578624"/>
            </a:xfrm>
            <a:prstGeom prst="rect">
              <a:avLst/>
            </a:prstGeom>
          </p:spPr>
        </p:pic>
      </p:grpSp>
      <p:grpSp>
        <p:nvGrpSpPr>
          <p:cNvPr id="168" name="Gruppieren 167"/>
          <p:cNvGrpSpPr/>
          <p:nvPr/>
        </p:nvGrpSpPr>
        <p:grpSpPr>
          <a:xfrm>
            <a:off x="2072138" y="3021712"/>
            <a:ext cx="697111" cy="697111"/>
            <a:chOff x="573534" y="3068960"/>
            <a:chExt cx="697111" cy="697111"/>
          </a:xfrm>
        </p:grpSpPr>
        <p:sp>
          <p:nvSpPr>
            <p:cNvPr id="169" name="Ellipse 168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0" name="Grafik 169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885" y="3131845"/>
              <a:ext cx="554408" cy="554408"/>
            </a:xfrm>
            <a:prstGeom prst="rect">
              <a:avLst/>
            </a:prstGeom>
          </p:spPr>
        </p:pic>
      </p:grpSp>
      <p:grpSp>
        <p:nvGrpSpPr>
          <p:cNvPr id="189" name="Gruppieren 188"/>
          <p:cNvGrpSpPr/>
          <p:nvPr/>
        </p:nvGrpSpPr>
        <p:grpSpPr>
          <a:xfrm>
            <a:off x="6996380" y="3021712"/>
            <a:ext cx="697111" cy="697111"/>
            <a:chOff x="5472132" y="3068960"/>
            <a:chExt cx="697111" cy="697111"/>
          </a:xfrm>
        </p:grpSpPr>
        <p:sp>
          <p:nvSpPr>
            <p:cNvPr id="190" name="Ellipse 189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1" name="Grafik 190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2" name="Gruppieren 191"/>
          <p:cNvGrpSpPr/>
          <p:nvPr/>
        </p:nvGrpSpPr>
        <p:grpSpPr>
          <a:xfrm>
            <a:off x="6175673" y="3021712"/>
            <a:ext cx="697111" cy="697111"/>
            <a:chOff x="6288565" y="3068960"/>
            <a:chExt cx="697111" cy="697111"/>
          </a:xfrm>
        </p:grpSpPr>
        <p:sp>
          <p:nvSpPr>
            <p:cNvPr id="193" name="Ellipse 192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4" name="Grafik 193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2772" y="3133167"/>
              <a:ext cx="568698" cy="568698"/>
            </a:xfrm>
            <a:prstGeom prst="rect">
              <a:avLst/>
            </a:prstGeom>
          </p:spPr>
        </p:pic>
      </p:grpSp>
      <p:grpSp>
        <p:nvGrpSpPr>
          <p:cNvPr id="207" name="Gruppieren 206"/>
          <p:cNvGrpSpPr/>
          <p:nvPr/>
        </p:nvGrpSpPr>
        <p:grpSpPr>
          <a:xfrm>
            <a:off x="5354966" y="3021712"/>
            <a:ext cx="697111" cy="697111"/>
            <a:chOff x="3022833" y="3068960"/>
            <a:chExt cx="697111" cy="697111"/>
          </a:xfrm>
        </p:grpSpPr>
        <p:sp>
          <p:nvSpPr>
            <p:cNvPr id="208" name="Ellipse 207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9" name="Grafik 208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5217" y="3164431"/>
              <a:ext cx="537434" cy="537434"/>
            </a:xfrm>
            <a:prstGeom prst="rect">
              <a:avLst/>
            </a:prstGeom>
          </p:spPr>
        </p:pic>
      </p:grpSp>
      <p:grpSp>
        <p:nvGrpSpPr>
          <p:cNvPr id="219" name="Gruppieren 218"/>
          <p:cNvGrpSpPr/>
          <p:nvPr/>
        </p:nvGrpSpPr>
        <p:grpSpPr>
          <a:xfrm>
            <a:off x="6996380" y="3881506"/>
            <a:ext cx="697111" cy="697111"/>
            <a:chOff x="7921427" y="2155825"/>
            <a:chExt cx="697111" cy="697111"/>
          </a:xfrm>
        </p:grpSpPr>
        <p:sp>
          <p:nvSpPr>
            <p:cNvPr id="220" name="Ellipse 219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1" name="Grafik 220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303" name="Gruppieren 302"/>
          <p:cNvGrpSpPr/>
          <p:nvPr/>
        </p:nvGrpSpPr>
        <p:grpSpPr>
          <a:xfrm>
            <a:off x="2072138" y="3881506"/>
            <a:ext cx="697111" cy="697111"/>
            <a:chOff x="3022833" y="3068960"/>
            <a:chExt cx="697111" cy="697111"/>
          </a:xfrm>
        </p:grpSpPr>
        <p:sp>
          <p:nvSpPr>
            <p:cNvPr id="304" name="Ellipse 303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5" name="Grafik 304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79" name="Gruppieren 278"/>
          <p:cNvGrpSpPr/>
          <p:nvPr/>
        </p:nvGrpSpPr>
        <p:grpSpPr>
          <a:xfrm>
            <a:off x="2892845" y="3881506"/>
            <a:ext cx="697111" cy="697111"/>
            <a:chOff x="1389967" y="3068960"/>
            <a:chExt cx="697111" cy="697111"/>
          </a:xfrm>
        </p:grpSpPr>
        <p:sp>
          <p:nvSpPr>
            <p:cNvPr id="280" name="Ellipse 279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1" name="Grafik 280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91" name="Gruppieren 290"/>
          <p:cNvGrpSpPr/>
          <p:nvPr/>
        </p:nvGrpSpPr>
        <p:grpSpPr>
          <a:xfrm>
            <a:off x="3713552" y="3881506"/>
            <a:ext cx="697111" cy="697111"/>
            <a:chOff x="6288565" y="4005064"/>
            <a:chExt cx="697111" cy="697111"/>
          </a:xfrm>
        </p:grpSpPr>
        <p:sp>
          <p:nvSpPr>
            <p:cNvPr id="292" name="Ellipse 291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3" name="Grafik 292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339" name="Gruppieren 338"/>
          <p:cNvGrpSpPr/>
          <p:nvPr/>
        </p:nvGrpSpPr>
        <p:grpSpPr>
          <a:xfrm>
            <a:off x="5354966" y="3881506"/>
            <a:ext cx="697111" cy="697111"/>
            <a:chOff x="7921427" y="4941168"/>
            <a:chExt cx="697111" cy="697111"/>
          </a:xfrm>
        </p:grpSpPr>
        <p:sp>
          <p:nvSpPr>
            <p:cNvPr id="340" name="Ellipse 339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1" name="Grafik 340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4930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174" name="Gruppieren 173"/>
          <p:cNvGrpSpPr/>
          <p:nvPr/>
        </p:nvGrpSpPr>
        <p:grpSpPr>
          <a:xfrm>
            <a:off x="6175673" y="3881506"/>
            <a:ext cx="697111" cy="697111"/>
            <a:chOff x="6288565" y="4005064"/>
            <a:chExt cx="697111" cy="697111"/>
          </a:xfrm>
        </p:grpSpPr>
        <p:sp>
          <p:nvSpPr>
            <p:cNvPr id="175" name="Ellipse 174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6" name="Grafik 175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6891" y="4055441"/>
              <a:ext cx="560460" cy="560460"/>
            </a:xfrm>
            <a:prstGeom prst="rect">
              <a:avLst/>
            </a:prstGeom>
          </p:spPr>
        </p:pic>
      </p:grpSp>
      <p:grpSp>
        <p:nvGrpSpPr>
          <p:cNvPr id="180" name="Gruppieren 179"/>
          <p:cNvGrpSpPr/>
          <p:nvPr/>
        </p:nvGrpSpPr>
        <p:grpSpPr>
          <a:xfrm>
            <a:off x="4534259" y="3881506"/>
            <a:ext cx="697111" cy="697111"/>
            <a:chOff x="573534" y="4941168"/>
            <a:chExt cx="697111" cy="697111"/>
          </a:xfrm>
        </p:grpSpPr>
        <p:sp>
          <p:nvSpPr>
            <p:cNvPr id="187" name="Ellipse 186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8" name="Grafik 187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384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201" name="Gruppieren 200"/>
          <p:cNvGrpSpPr/>
          <p:nvPr/>
        </p:nvGrpSpPr>
        <p:grpSpPr>
          <a:xfrm>
            <a:off x="8637794" y="3881506"/>
            <a:ext cx="697111" cy="697111"/>
            <a:chOff x="7104998" y="3068960"/>
            <a:chExt cx="697111" cy="697111"/>
          </a:xfrm>
          <a:solidFill>
            <a:schemeClr val="tx2"/>
          </a:solidFill>
        </p:grpSpPr>
        <p:sp>
          <p:nvSpPr>
            <p:cNvPr id="202" name="Ellipse 201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3" name="Grafik 202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2926" y="3138939"/>
              <a:ext cx="521256" cy="521256"/>
            </a:xfrm>
            <a:prstGeom prst="rect">
              <a:avLst/>
            </a:prstGeom>
            <a:noFill/>
          </p:spPr>
        </p:pic>
      </p:grpSp>
      <p:grpSp>
        <p:nvGrpSpPr>
          <p:cNvPr id="360" name="Gruppieren 359"/>
          <p:cNvGrpSpPr/>
          <p:nvPr/>
        </p:nvGrpSpPr>
        <p:grpSpPr>
          <a:xfrm>
            <a:off x="9458501" y="3881506"/>
            <a:ext cx="697111" cy="697111"/>
            <a:chOff x="2206400" y="3068960"/>
            <a:chExt cx="697111" cy="697111"/>
          </a:xfrm>
        </p:grpSpPr>
        <p:sp>
          <p:nvSpPr>
            <p:cNvPr id="361" name="Ellipse 360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62" name="Grafik 361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5537" y="3158097"/>
              <a:ext cx="518838" cy="518838"/>
            </a:xfrm>
            <a:prstGeom prst="rect">
              <a:avLst/>
            </a:prstGeom>
          </p:spPr>
        </p:pic>
      </p:grpSp>
      <p:grpSp>
        <p:nvGrpSpPr>
          <p:cNvPr id="381" name="Gruppieren 380"/>
          <p:cNvGrpSpPr/>
          <p:nvPr/>
        </p:nvGrpSpPr>
        <p:grpSpPr>
          <a:xfrm>
            <a:off x="7817087" y="3881506"/>
            <a:ext cx="697111" cy="697111"/>
            <a:chOff x="4655699" y="2155825"/>
            <a:chExt cx="697111" cy="697111"/>
          </a:xfrm>
        </p:grpSpPr>
        <p:sp>
          <p:nvSpPr>
            <p:cNvPr id="382" name="Ellipse 381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3" name="Grafik 382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357" name="Gruppieren 356"/>
          <p:cNvGrpSpPr/>
          <p:nvPr/>
        </p:nvGrpSpPr>
        <p:grpSpPr>
          <a:xfrm>
            <a:off x="6175673" y="4741300"/>
            <a:ext cx="697111" cy="697111"/>
            <a:chOff x="5472132" y="4005064"/>
            <a:chExt cx="697111" cy="697111"/>
          </a:xfrm>
        </p:grpSpPr>
        <p:sp>
          <p:nvSpPr>
            <p:cNvPr id="358" name="Ellipse 357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9" name="Grafik 358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9140" y="4092730"/>
              <a:ext cx="521778" cy="521778"/>
            </a:xfrm>
            <a:prstGeom prst="rect">
              <a:avLst/>
            </a:prstGeom>
          </p:spPr>
        </p:pic>
      </p:grpSp>
      <p:grpSp>
        <p:nvGrpSpPr>
          <p:cNvPr id="363" name="Gruppieren 362"/>
          <p:cNvGrpSpPr/>
          <p:nvPr/>
        </p:nvGrpSpPr>
        <p:grpSpPr>
          <a:xfrm>
            <a:off x="2892845" y="4741300"/>
            <a:ext cx="697111" cy="697111"/>
            <a:chOff x="2206400" y="3068960"/>
            <a:chExt cx="697111" cy="697111"/>
          </a:xfrm>
        </p:grpSpPr>
        <p:sp>
          <p:nvSpPr>
            <p:cNvPr id="364" name="Ellipse 363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65" name="Grafik 364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66" name="Gruppieren 365"/>
          <p:cNvGrpSpPr/>
          <p:nvPr/>
        </p:nvGrpSpPr>
        <p:grpSpPr>
          <a:xfrm>
            <a:off x="7817087" y="4741300"/>
            <a:ext cx="697111" cy="697111"/>
            <a:chOff x="5472132" y="4941168"/>
            <a:chExt cx="697111" cy="697111"/>
          </a:xfrm>
        </p:grpSpPr>
        <p:sp>
          <p:nvSpPr>
            <p:cNvPr id="367" name="Ellipse 366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68" name="Grafik 367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369" name="Gruppieren 368"/>
          <p:cNvGrpSpPr/>
          <p:nvPr/>
        </p:nvGrpSpPr>
        <p:grpSpPr>
          <a:xfrm>
            <a:off x="9458501" y="4741300"/>
            <a:ext cx="697111" cy="697111"/>
            <a:chOff x="573534" y="4005064"/>
            <a:chExt cx="697111" cy="697111"/>
          </a:xfrm>
        </p:grpSpPr>
        <p:sp>
          <p:nvSpPr>
            <p:cNvPr id="370" name="Ellipse 369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1" name="Grafik 370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756" y="4103286"/>
              <a:ext cx="500666" cy="500666"/>
            </a:xfrm>
            <a:prstGeom prst="rect">
              <a:avLst/>
            </a:prstGeom>
          </p:spPr>
        </p:pic>
      </p:grpSp>
      <p:grpSp>
        <p:nvGrpSpPr>
          <p:cNvPr id="372" name="Gruppieren 371"/>
          <p:cNvGrpSpPr/>
          <p:nvPr/>
        </p:nvGrpSpPr>
        <p:grpSpPr>
          <a:xfrm>
            <a:off x="2072138" y="4741300"/>
            <a:ext cx="697111" cy="697111"/>
            <a:chOff x="3839266" y="3068960"/>
            <a:chExt cx="697111" cy="697111"/>
          </a:xfrm>
        </p:grpSpPr>
        <p:sp>
          <p:nvSpPr>
            <p:cNvPr id="373" name="Ellipse 372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4" name="Grafik 373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75" name="Gruppieren 374"/>
          <p:cNvGrpSpPr/>
          <p:nvPr/>
        </p:nvGrpSpPr>
        <p:grpSpPr>
          <a:xfrm>
            <a:off x="5354966" y="4741300"/>
            <a:ext cx="697111" cy="697111"/>
            <a:chOff x="6288565" y="4005064"/>
            <a:chExt cx="697111" cy="697111"/>
          </a:xfrm>
        </p:grpSpPr>
        <p:sp>
          <p:nvSpPr>
            <p:cNvPr id="376" name="Ellipse 375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7" name="Grafik 376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9075" y="4097939"/>
              <a:ext cx="488404" cy="488404"/>
            </a:xfrm>
            <a:prstGeom prst="rect">
              <a:avLst/>
            </a:prstGeom>
          </p:spPr>
        </p:pic>
      </p:grpSp>
      <p:grpSp>
        <p:nvGrpSpPr>
          <p:cNvPr id="378" name="Gruppieren 377"/>
          <p:cNvGrpSpPr/>
          <p:nvPr/>
        </p:nvGrpSpPr>
        <p:grpSpPr>
          <a:xfrm>
            <a:off x="3713552" y="4741300"/>
            <a:ext cx="697111" cy="697111"/>
            <a:chOff x="3839266" y="4941168"/>
            <a:chExt cx="697111" cy="697111"/>
          </a:xfrm>
        </p:grpSpPr>
        <p:sp>
          <p:nvSpPr>
            <p:cNvPr id="379" name="Ellipse 378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0" name="Grafik 379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384" name="Gruppieren 383"/>
          <p:cNvGrpSpPr/>
          <p:nvPr/>
        </p:nvGrpSpPr>
        <p:grpSpPr>
          <a:xfrm>
            <a:off x="4534259" y="4741300"/>
            <a:ext cx="697111" cy="697111"/>
            <a:chOff x="6288565" y="4005064"/>
            <a:chExt cx="697111" cy="697111"/>
          </a:xfrm>
        </p:grpSpPr>
        <p:sp>
          <p:nvSpPr>
            <p:cNvPr id="385" name="Ellipse 384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6" name="Grafik 385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4121951"/>
              <a:ext cx="472480" cy="472480"/>
            </a:xfrm>
            <a:prstGeom prst="rect">
              <a:avLst/>
            </a:prstGeom>
          </p:spPr>
        </p:pic>
      </p:grpSp>
      <p:grpSp>
        <p:nvGrpSpPr>
          <p:cNvPr id="387" name="Gruppieren 386"/>
          <p:cNvGrpSpPr/>
          <p:nvPr/>
        </p:nvGrpSpPr>
        <p:grpSpPr>
          <a:xfrm>
            <a:off x="8637794" y="4741300"/>
            <a:ext cx="697111" cy="697111"/>
            <a:chOff x="3022833" y="2155825"/>
            <a:chExt cx="697111" cy="697111"/>
          </a:xfrm>
        </p:grpSpPr>
        <p:sp>
          <p:nvSpPr>
            <p:cNvPr id="388" name="Ellipse 387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9" name="Grafik 388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4285" y="2227277"/>
              <a:ext cx="554208" cy="554208"/>
            </a:xfrm>
            <a:prstGeom prst="rect">
              <a:avLst/>
            </a:prstGeom>
          </p:spPr>
        </p:pic>
      </p:grpSp>
      <p:grpSp>
        <p:nvGrpSpPr>
          <p:cNvPr id="390" name="Gruppieren 389"/>
          <p:cNvGrpSpPr/>
          <p:nvPr/>
        </p:nvGrpSpPr>
        <p:grpSpPr>
          <a:xfrm>
            <a:off x="6996380" y="4741300"/>
            <a:ext cx="697111" cy="697111"/>
            <a:chOff x="7104998" y="4005064"/>
            <a:chExt cx="697111" cy="697111"/>
          </a:xfrm>
        </p:grpSpPr>
        <p:sp>
          <p:nvSpPr>
            <p:cNvPr id="391" name="Ellipse 390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92" name="Grafik 391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4833" y="4083486"/>
              <a:ext cx="540266" cy="540266"/>
            </a:xfrm>
            <a:prstGeom prst="rect">
              <a:avLst/>
            </a:prstGeom>
          </p:spPr>
        </p:pic>
      </p:grpSp>
      <p:grpSp>
        <p:nvGrpSpPr>
          <p:cNvPr id="195" name="Gruppieren 194"/>
          <p:cNvGrpSpPr/>
          <p:nvPr/>
        </p:nvGrpSpPr>
        <p:grpSpPr>
          <a:xfrm>
            <a:off x="6996380" y="5601092"/>
            <a:ext cx="697111" cy="697111"/>
            <a:chOff x="7921427" y="3068960"/>
            <a:chExt cx="697111" cy="697111"/>
          </a:xfrm>
        </p:grpSpPr>
        <p:sp>
          <p:nvSpPr>
            <p:cNvPr id="196" name="Ellipse 195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7" name="Grafik 196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8438" y="3125971"/>
              <a:ext cx="583090" cy="583090"/>
            </a:xfrm>
            <a:prstGeom prst="rect">
              <a:avLst/>
            </a:prstGeom>
          </p:spPr>
        </p:pic>
      </p:grpSp>
      <p:grpSp>
        <p:nvGrpSpPr>
          <p:cNvPr id="198" name="Gruppieren 197"/>
          <p:cNvGrpSpPr/>
          <p:nvPr/>
        </p:nvGrpSpPr>
        <p:grpSpPr>
          <a:xfrm>
            <a:off x="3713552" y="5601092"/>
            <a:ext cx="697111" cy="697111"/>
            <a:chOff x="1389967" y="3068960"/>
            <a:chExt cx="697111" cy="697111"/>
          </a:xfrm>
        </p:grpSpPr>
        <p:sp>
          <p:nvSpPr>
            <p:cNvPr id="199" name="Ellipse 198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0" name="Grafik 199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572" y="3113565"/>
              <a:ext cx="607902" cy="607902"/>
            </a:xfrm>
            <a:prstGeom prst="rect">
              <a:avLst/>
            </a:prstGeom>
          </p:spPr>
        </p:pic>
      </p:grpSp>
      <p:grpSp>
        <p:nvGrpSpPr>
          <p:cNvPr id="204" name="Gruppieren 203"/>
          <p:cNvGrpSpPr/>
          <p:nvPr/>
        </p:nvGrpSpPr>
        <p:grpSpPr>
          <a:xfrm>
            <a:off x="7817087" y="5601092"/>
            <a:ext cx="697111" cy="697111"/>
            <a:chOff x="7921427" y="3068960"/>
            <a:chExt cx="697111" cy="697111"/>
          </a:xfrm>
        </p:grpSpPr>
        <p:sp>
          <p:nvSpPr>
            <p:cNvPr id="205" name="Ellipse 204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6" name="Grafik 205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39370"/>
              <a:ext cx="556292" cy="556292"/>
            </a:xfrm>
            <a:prstGeom prst="rect">
              <a:avLst/>
            </a:prstGeom>
          </p:spPr>
        </p:pic>
      </p:grpSp>
      <p:grpSp>
        <p:nvGrpSpPr>
          <p:cNvPr id="210" name="Gruppieren 209"/>
          <p:cNvGrpSpPr/>
          <p:nvPr/>
        </p:nvGrpSpPr>
        <p:grpSpPr>
          <a:xfrm>
            <a:off x="9458501" y="5601092"/>
            <a:ext cx="697111" cy="697111"/>
            <a:chOff x="3839266" y="4941168"/>
            <a:chExt cx="697111" cy="697111"/>
          </a:xfrm>
        </p:grpSpPr>
        <p:sp>
          <p:nvSpPr>
            <p:cNvPr id="211" name="Ellipse 210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2" name="Grafik 211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3455" y="4995357"/>
              <a:ext cx="588734" cy="588734"/>
            </a:xfrm>
            <a:prstGeom prst="rect">
              <a:avLst/>
            </a:prstGeom>
          </p:spPr>
        </p:pic>
      </p:grpSp>
      <p:grpSp>
        <p:nvGrpSpPr>
          <p:cNvPr id="213" name="Gruppieren 212"/>
          <p:cNvGrpSpPr/>
          <p:nvPr/>
        </p:nvGrpSpPr>
        <p:grpSpPr>
          <a:xfrm>
            <a:off x="2072138" y="5601092"/>
            <a:ext cx="697111" cy="697111"/>
            <a:chOff x="4655699" y="2155825"/>
            <a:chExt cx="697111" cy="697111"/>
          </a:xfrm>
        </p:grpSpPr>
        <p:sp>
          <p:nvSpPr>
            <p:cNvPr id="214" name="Ellipse 213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5" name="Grafik 214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1744" y="2181870"/>
              <a:ext cx="645022" cy="645022"/>
            </a:xfrm>
            <a:prstGeom prst="rect">
              <a:avLst/>
            </a:prstGeom>
          </p:spPr>
        </p:pic>
      </p:grpSp>
      <p:grpSp>
        <p:nvGrpSpPr>
          <p:cNvPr id="216" name="Gruppieren 215"/>
          <p:cNvGrpSpPr/>
          <p:nvPr/>
        </p:nvGrpSpPr>
        <p:grpSpPr>
          <a:xfrm>
            <a:off x="4534259" y="5601092"/>
            <a:ext cx="697111" cy="697111"/>
            <a:chOff x="573534" y="3068960"/>
            <a:chExt cx="697111" cy="697111"/>
          </a:xfrm>
        </p:grpSpPr>
        <p:sp>
          <p:nvSpPr>
            <p:cNvPr id="217" name="Ellipse 216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8" name="Grafik 217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891" y="3114911"/>
              <a:ext cx="588276" cy="588276"/>
            </a:xfrm>
            <a:prstGeom prst="rect">
              <a:avLst/>
            </a:prstGeom>
          </p:spPr>
        </p:pic>
      </p:grpSp>
      <p:grpSp>
        <p:nvGrpSpPr>
          <p:cNvPr id="345" name="Gruppieren 344"/>
          <p:cNvGrpSpPr/>
          <p:nvPr/>
        </p:nvGrpSpPr>
        <p:grpSpPr>
          <a:xfrm>
            <a:off x="2892845" y="5601092"/>
            <a:ext cx="697111" cy="697111"/>
            <a:chOff x="573534" y="4005064"/>
            <a:chExt cx="697111" cy="697111"/>
          </a:xfrm>
        </p:grpSpPr>
        <p:sp>
          <p:nvSpPr>
            <p:cNvPr id="346" name="Ellipse 345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7" name="Grafik 346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864" y="4062115"/>
              <a:ext cx="566076" cy="566076"/>
            </a:xfrm>
            <a:prstGeom prst="rect">
              <a:avLst/>
            </a:prstGeom>
          </p:spPr>
        </p:pic>
      </p:grpSp>
      <p:grpSp>
        <p:nvGrpSpPr>
          <p:cNvPr id="348" name="Gruppieren 347"/>
          <p:cNvGrpSpPr/>
          <p:nvPr/>
        </p:nvGrpSpPr>
        <p:grpSpPr>
          <a:xfrm>
            <a:off x="5354966" y="5601092"/>
            <a:ext cx="697111" cy="697111"/>
            <a:chOff x="3022833" y="2155825"/>
            <a:chExt cx="697111" cy="697111"/>
          </a:xfrm>
        </p:grpSpPr>
        <p:sp>
          <p:nvSpPr>
            <p:cNvPr id="349" name="Ellipse 348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0" name="Grafik 349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117" y="2235466"/>
              <a:ext cx="537830" cy="537830"/>
            </a:xfrm>
            <a:prstGeom prst="rect">
              <a:avLst/>
            </a:prstGeom>
          </p:spPr>
        </p:pic>
      </p:grpSp>
      <p:grpSp>
        <p:nvGrpSpPr>
          <p:cNvPr id="354" name="Gruppieren 353"/>
          <p:cNvGrpSpPr/>
          <p:nvPr/>
        </p:nvGrpSpPr>
        <p:grpSpPr>
          <a:xfrm>
            <a:off x="6175673" y="5601092"/>
            <a:ext cx="697111" cy="697111"/>
            <a:chOff x="4655699" y="2155825"/>
            <a:chExt cx="697111" cy="697111"/>
          </a:xfrm>
        </p:grpSpPr>
        <p:sp>
          <p:nvSpPr>
            <p:cNvPr id="355" name="Ellipse 354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6" name="Grafik 355"/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393" name="Gruppieren 392"/>
          <p:cNvGrpSpPr/>
          <p:nvPr/>
        </p:nvGrpSpPr>
        <p:grpSpPr>
          <a:xfrm>
            <a:off x="8637794" y="5601092"/>
            <a:ext cx="697111" cy="697111"/>
            <a:chOff x="1389967" y="4005064"/>
            <a:chExt cx="697111" cy="697111"/>
          </a:xfrm>
        </p:grpSpPr>
        <p:sp>
          <p:nvSpPr>
            <p:cNvPr id="394" name="Ellipse 393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95" name="Grafik 394"/>
            <p:cNvPicPr>
              <a:picLocks noChangeAspect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1682" y="4060041"/>
              <a:ext cx="587158" cy="5871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413122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</a:t>
            </a:r>
            <a:endParaRPr lang="de-DE" dirty="0"/>
          </a:p>
        </p:txBody>
      </p:sp>
      <p:grpSp>
        <p:nvGrpSpPr>
          <p:cNvPr id="115" name="Gruppieren 114"/>
          <p:cNvGrpSpPr/>
          <p:nvPr/>
        </p:nvGrpSpPr>
        <p:grpSpPr>
          <a:xfrm>
            <a:off x="2068420" y="2164598"/>
            <a:ext cx="697111" cy="697111"/>
            <a:chOff x="1389967" y="3068960"/>
            <a:chExt cx="697111" cy="697111"/>
          </a:xfrm>
        </p:grpSpPr>
        <p:sp>
          <p:nvSpPr>
            <p:cNvPr id="116" name="Ellipse 115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7" name="Grafik 1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3993" y="3141484"/>
              <a:ext cx="552064" cy="552064"/>
            </a:xfrm>
            <a:prstGeom prst="rect">
              <a:avLst/>
            </a:prstGeom>
          </p:spPr>
        </p:pic>
      </p:grpSp>
      <p:grpSp>
        <p:nvGrpSpPr>
          <p:cNvPr id="234" name="Gruppieren 233"/>
          <p:cNvGrpSpPr/>
          <p:nvPr/>
        </p:nvGrpSpPr>
        <p:grpSpPr>
          <a:xfrm>
            <a:off x="7805438" y="2164598"/>
            <a:ext cx="697111" cy="697111"/>
            <a:chOff x="7921427" y="4005064"/>
            <a:chExt cx="697111" cy="697111"/>
          </a:xfrm>
        </p:grpSpPr>
        <p:sp>
          <p:nvSpPr>
            <p:cNvPr id="235" name="Ellipse 234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6" name="Grafik 2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3" name="Gruppieren 242"/>
          <p:cNvGrpSpPr/>
          <p:nvPr/>
        </p:nvGrpSpPr>
        <p:grpSpPr>
          <a:xfrm>
            <a:off x="3707568" y="2164598"/>
            <a:ext cx="697111" cy="697111"/>
            <a:chOff x="4655699" y="4005064"/>
            <a:chExt cx="697111" cy="697111"/>
          </a:xfrm>
        </p:grpSpPr>
        <p:sp>
          <p:nvSpPr>
            <p:cNvPr id="244" name="Ellipse 243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5" name="Grafik 24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1159" y="4050524"/>
              <a:ext cx="606192" cy="606192"/>
            </a:xfrm>
            <a:prstGeom prst="rect">
              <a:avLst/>
            </a:prstGeom>
          </p:spPr>
        </p:pic>
      </p:grpSp>
      <p:grpSp>
        <p:nvGrpSpPr>
          <p:cNvPr id="288" name="Gruppieren 287"/>
          <p:cNvGrpSpPr/>
          <p:nvPr/>
        </p:nvGrpSpPr>
        <p:grpSpPr>
          <a:xfrm>
            <a:off x="5346716" y="2164598"/>
            <a:ext cx="697111" cy="697111"/>
            <a:chOff x="7921427" y="4005064"/>
            <a:chExt cx="697111" cy="697111"/>
          </a:xfrm>
        </p:grpSpPr>
        <p:sp>
          <p:nvSpPr>
            <p:cNvPr id="289" name="Ellipse 288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0" name="Grafik 28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0020" y="4073657"/>
              <a:ext cx="559926" cy="559926"/>
            </a:xfrm>
            <a:prstGeom prst="rect">
              <a:avLst/>
            </a:prstGeom>
          </p:spPr>
        </p:pic>
      </p:grpSp>
      <p:grpSp>
        <p:nvGrpSpPr>
          <p:cNvPr id="291" name="Gruppieren 290"/>
          <p:cNvGrpSpPr/>
          <p:nvPr/>
        </p:nvGrpSpPr>
        <p:grpSpPr>
          <a:xfrm>
            <a:off x="2887994" y="2164598"/>
            <a:ext cx="697111" cy="697111"/>
            <a:chOff x="6288565" y="4005064"/>
            <a:chExt cx="697111" cy="697111"/>
          </a:xfrm>
        </p:grpSpPr>
        <p:sp>
          <p:nvSpPr>
            <p:cNvPr id="292" name="Ellipse 291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3" name="Grafik 29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228" y="4059086"/>
              <a:ext cx="589068" cy="589068"/>
            </a:xfrm>
            <a:prstGeom prst="rect">
              <a:avLst/>
            </a:prstGeom>
          </p:spPr>
        </p:pic>
      </p:grpSp>
      <p:grpSp>
        <p:nvGrpSpPr>
          <p:cNvPr id="294" name="Gruppieren 293"/>
          <p:cNvGrpSpPr/>
          <p:nvPr/>
        </p:nvGrpSpPr>
        <p:grpSpPr>
          <a:xfrm>
            <a:off x="8625012" y="2164598"/>
            <a:ext cx="697111" cy="697111"/>
            <a:chOff x="573534" y="4941168"/>
            <a:chExt cx="697111" cy="697111"/>
          </a:xfrm>
        </p:grpSpPr>
        <p:sp>
          <p:nvSpPr>
            <p:cNvPr id="295" name="Ellipse 294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6" name="Grafik 29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118" name="Gruppieren 117"/>
          <p:cNvGrpSpPr/>
          <p:nvPr/>
        </p:nvGrpSpPr>
        <p:grpSpPr>
          <a:xfrm>
            <a:off x="4527142" y="2164598"/>
            <a:ext cx="697111" cy="697111"/>
            <a:chOff x="573534" y="4005064"/>
            <a:chExt cx="697111" cy="697111"/>
          </a:xfrm>
        </p:grpSpPr>
        <p:sp>
          <p:nvSpPr>
            <p:cNvPr id="119" name="Ellipse 118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0" name="Grafik 1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413" y="4074432"/>
              <a:ext cx="558374" cy="558374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/>
          <p:nvPr/>
        </p:nvGrpSpPr>
        <p:grpSpPr>
          <a:xfrm>
            <a:off x="6985864" y="2164598"/>
            <a:ext cx="697111" cy="697111"/>
            <a:chOff x="2206400" y="3068960"/>
            <a:chExt cx="697111" cy="697111"/>
          </a:xfrm>
        </p:grpSpPr>
        <p:sp>
          <p:nvSpPr>
            <p:cNvPr id="154" name="Ellipse 153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5" name="Grafik 15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56" name="Gruppieren 155"/>
          <p:cNvGrpSpPr/>
          <p:nvPr/>
        </p:nvGrpSpPr>
        <p:grpSpPr>
          <a:xfrm>
            <a:off x="6166290" y="2164598"/>
            <a:ext cx="697111" cy="697111"/>
            <a:chOff x="7921427" y="3068960"/>
            <a:chExt cx="697111" cy="697111"/>
          </a:xfrm>
        </p:grpSpPr>
        <p:sp>
          <p:nvSpPr>
            <p:cNvPr id="157" name="Ellipse 156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8" name="Grafik 15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4205" y="3111738"/>
              <a:ext cx="611556" cy="611556"/>
            </a:xfrm>
            <a:prstGeom prst="rect">
              <a:avLst/>
            </a:prstGeom>
          </p:spPr>
        </p:pic>
      </p:grpSp>
      <p:grpSp>
        <p:nvGrpSpPr>
          <p:cNvPr id="180" name="Gruppieren 179"/>
          <p:cNvGrpSpPr/>
          <p:nvPr/>
        </p:nvGrpSpPr>
        <p:grpSpPr>
          <a:xfrm>
            <a:off x="9444585" y="2164598"/>
            <a:ext cx="697111" cy="697111"/>
            <a:chOff x="3022833" y="3068960"/>
            <a:chExt cx="697111" cy="697111"/>
          </a:xfrm>
        </p:grpSpPr>
        <p:sp>
          <p:nvSpPr>
            <p:cNvPr id="187" name="Ellipse 186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8" name="Grafik 187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8" name="Gruppieren 197"/>
          <p:cNvGrpSpPr/>
          <p:nvPr/>
        </p:nvGrpSpPr>
        <p:grpSpPr>
          <a:xfrm>
            <a:off x="5346716" y="3903459"/>
            <a:ext cx="697111" cy="697111"/>
            <a:chOff x="7921427" y="4005064"/>
            <a:chExt cx="697111" cy="697111"/>
          </a:xfrm>
        </p:grpSpPr>
        <p:sp>
          <p:nvSpPr>
            <p:cNvPr id="199" name="Ellipse 198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0" name="Grafik 199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2960" y="4093995"/>
              <a:ext cx="541492" cy="541492"/>
            </a:xfrm>
            <a:prstGeom prst="rect">
              <a:avLst/>
            </a:prstGeom>
          </p:spPr>
        </p:pic>
      </p:grpSp>
      <p:grpSp>
        <p:nvGrpSpPr>
          <p:cNvPr id="201" name="Gruppieren 200"/>
          <p:cNvGrpSpPr/>
          <p:nvPr/>
        </p:nvGrpSpPr>
        <p:grpSpPr>
          <a:xfrm>
            <a:off x="3707568" y="3903459"/>
            <a:ext cx="697111" cy="697111"/>
            <a:chOff x="4655699" y="4005064"/>
            <a:chExt cx="697111" cy="697111"/>
          </a:xfrm>
        </p:grpSpPr>
        <p:sp>
          <p:nvSpPr>
            <p:cNvPr id="202" name="Ellipse 201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3" name="Grafik 20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1803" y="4069344"/>
              <a:ext cx="568552" cy="568552"/>
            </a:xfrm>
            <a:prstGeom prst="rect">
              <a:avLst/>
            </a:prstGeom>
          </p:spPr>
        </p:pic>
      </p:grpSp>
      <p:grpSp>
        <p:nvGrpSpPr>
          <p:cNvPr id="204" name="Gruppieren 203"/>
          <p:cNvGrpSpPr/>
          <p:nvPr/>
        </p:nvGrpSpPr>
        <p:grpSpPr>
          <a:xfrm>
            <a:off x="6985864" y="3903459"/>
            <a:ext cx="697111" cy="697111"/>
            <a:chOff x="2206400" y="4005064"/>
            <a:chExt cx="697111" cy="697111"/>
          </a:xfrm>
        </p:grpSpPr>
        <p:sp>
          <p:nvSpPr>
            <p:cNvPr id="205" name="Ellipse 204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6" name="Grafik 205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0249" y="4125847"/>
              <a:ext cx="472480" cy="472480"/>
            </a:xfrm>
            <a:prstGeom prst="rect">
              <a:avLst/>
            </a:prstGeom>
          </p:spPr>
        </p:pic>
      </p:grpSp>
      <p:grpSp>
        <p:nvGrpSpPr>
          <p:cNvPr id="207" name="Gruppieren 206"/>
          <p:cNvGrpSpPr/>
          <p:nvPr/>
        </p:nvGrpSpPr>
        <p:grpSpPr>
          <a:xfrm>
            <a:off x="6166290" y="3903459"/>
            <a:ext cx="697111" cy="697111"/>
            <a:chOff x="573534" y="4005064"/>
            <a:chExt cx="697111" cy="697111"/>
          </a:xfrm>
        </p:grpSpPr>
        <p:sp>
          <p:nvSpPr>
            <p:cNvPr id="208" name="Ellipse 207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9" name="Grafik 208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930" y="4093995"/>
              <a:ext cx="512322" cy="512322"/>
            </a:xfrm>
            <a:prstGeom prst="rect">
              <a:avLst/>
            </a:prstGeom>
          </p:spPr>
        </p:pic>
      </p:grpSp>
      <p:grpSp>
        <p:nvGrpSpPr>
          <p:cNvPr id="210" name="Gruppieren 209"/>
          <p:cNvGrpSpPr/>
          <p:nvPr/>
        </p:nvGrpSpPr>
        <p:grpSpPr>
          <a:xfrm>
            <a:off x="2887994" y="3903459"/>
            <a:ext cx="697111" cy="697111"/>
            <a:chOff x="1389967" y="4005064"/>
            <a:chExt cx="697111" cy="697111"/>
          </a:xfrm>
        </p:grpSpPr>
        <p:sp>
          <p:nvSpPr>
            <p:cNvPr id="211" name="Ellipse 210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2" name="Grafik 211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6018" y="4094941"/>
              <a:ext cx="534292" cy="534292"/>
            </a:xfrm>
            <a:prstGeom prst="rect">
              <a:avLst/>
            </a:prstGeom>
          </p:spPr>
        </p:pic>
      </p:grpSp>
      <p:grpSp>
        <p:nvGrpSpPr>
          <p:cNvPr id="213" name="Gruppieren 212"/>
          <p:cNvGrpSpPr/>
          <p:nvPr/>
        </p:nvGrpSpPr>
        <p:grpSpPr>
          <a:xfrm>
            <a:off x="2068420" y="3903459"/>
            <a:ext cx="697111" cy="697111"/>
            <a:chOff x="7921427" y="4005064"/>
            <a:chExt cx="697111" cy="697111"/>
          </a:xfrm>
        </p:grpSpPr>
        <p:sp>
          <p:nvSpPr>
            <p:cNvPr id="214" name="Ellipse 213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5" name="Grafik 214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7109" y="4073399"/>
              <a:ext cx="560442" cy="560442"/>
            </a:xfrm>
            <a:prstGeom prst="rect">
              <a:avLst/>
            </a:prstGeom>
          </p:spPr>
        </p:pic>
      </p:grpSp>
      <p:grpSp>
        <p:nvGrpSpPr>
          <p:cNvPr id="216" name="Gruppieren 215"/>
          <p:cNvGrpSpPr/>
          <p:nvPr/>
        </p:nvGrpSpPr>
        <p:grpSpPr>
          <a:xfrm>
            <a:off x="4527142" y="3903459"/>
            <a:ext cx="697111" cy="697111"/>
            <a:chOff x="5472132" y="4941168"/>
            <a:chExt cx="697111" cy="697111"/>
          </a:xfrm>
        </p:grpSpPr>
        <p:sp>
          <p:nvSpPr>
            <p:cNvPr id="217" name="Ellipse 216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8" name="Grafik 217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4988" y="5022395"/>
              <a:ext cx="557358" cy="557358"/>
            </a:xfrm>
            <a:prstGeom prst="rect">
              <a:avLst/>
            </a:prstGeom>
          </p:spPr>
        </p:pic>
      </p:grpSp>
      <p:grpSp>
        <p:nvGrpSpPr>
          <p:cNvPr id="345" name="Gruppieren 344"/>
          <p:cNvGrpSpPr/>
          <p:nvPr/>
        </p:nvGrpSpPr>
        <p:grpSpPr>
          <a:xfrm>
            <a:off x="7805438" y="3903459"/>
            <a:ext cx="697111" cy="697111"/>
            <a:chOff x="6288565" y="4005064"/>
            <a:chExt cx="697111" cy="697111"/>
          </a:xfrm>
        </p:grpSpPr>
        <p:sp>
          <p:nvSpPr>
            <p:cNvPr id="346" name="Ellipse 345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7" name="Grafik 346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3231" y="4099730"/>
              <a:ext cx="507780" cy="507780"/>
            </a:xfrm>
            <a:prstGeom prst="rect">
              <a:avLst/>
            </a:prstGeom>
          </p:spPr>
        </p:pic>
      </p:grpSp>
      <p:grpSp>
        <p:nvGrpSpPr>
          <p:cNvPr id="348" name="Gruppieren 347"/>
          <p:cNvGrpSpPr/>
          <p:nvPr/>
        </p:nvGrpSpPr>
        <p:grpSpPr>
          <a:xfrm>
            <a:off x="9444585" y="3903459"/>
            <a:ext cx="697111" cy="697111"/>
            <a:chOff x="6288565" y="4941168"/>
            <a:chExt cx="697111" cy="697111"/>
          </a:xfrm>
        </p:grpSpPr>
        <p:sp>
          <p:nvSpPr>
            <p:cNvPr id="349" name="Ellipse 348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0" name="Grafik 349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4604" y="5007207"/>
              <a:ext cx="565034" cy="565034"/>
            </a:xfrm>
            <a:prstGeom prst="rect">
              <a:avLst/>
            </a:prstGeom>
          </p:spPr>
        </p:pic>
      </p:grpSp>
      <p:grpSp>
        <p:nvGrpSpPr>
          <p:cNvPr id="351" name="Gruppieren 350"/>
          <p:cNvGrpSpPr/>
          <p:nvPr/>
        </p:nvGrpSpPr>
        <p:grpSpPr>
          <a:xfrm>
            <a:off x="8625012" y="3903459"/>
            <a:ext cx="697111" cy="697111"/>
            <a:chOff x="7921427" y="4941168"/>
            <a:chExt cx="697111" cy="697111"/>
          </a:xfrm>
        </p:grpSpPr>
        <p:sp>
          <p:nvSpPr>
            <p:cNvPr id="352" name="Ellipse 351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3" name="Grafik 352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1705" y="5008442"/>
              <a:ext cx="562564" cy="562564"/>
            </a:xfrm>
            <a:prstGeom prst="rect">
              <a:avLst/>
            </a:prstGeom>
          </p:spPr>
        </p:pic>
      </p:grpSp>
      <p:grpSp>
        <p:nvGrpSpPr>
          <p:cNvPr id="225" name="Gruppieren 224"/>
          <p:cNvGrpSpPr/>
          <p:nvPr/>
        </p:nvGrpSpPr>
        <p:grpSpPr>
          <a:xfrm>
            <a:off x="2887994" y="3024239"/>
            <a:ext cx="697111" cy="697111"/>
            <a:chOff x="3839266" y="4005064"/>
            <a:chExt cx="697111" cy="697111"/>
          </a:xfrm>
        </p:grpSpPr>
        <p:sp>
          <p:nvSpPr>
            <p:cNvPr id="226" name="Ellipse 225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7" name="Grafik 226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4648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85" name="Gruppieren 284"/>
          <p:cNvGrpSpPr/>
          <p:nvPr/>
        </p:nvGrpSpPr>
        <p:grpSpPr>
          <a:xfrm>
            <a:off x="4527142" y="3024239"/>
            <a:ext cx="697111" cy="697111"/>
            <a:chOff x="7104998" y="4005064"/>
            <a:chExt cx="697111" cy="697111"/>
          </a:xfrm>
        </p:grpSpPr>
        <p:sp>
          <p:nvSpPr>
            <p:cNvPr id="286" name="Ellipse 285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7" name="Grafik 286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7519" y="4057585"/>
              <a:ext cx="592070" cy="592070"/>
            </a:xfrm>
            <a:prstGeom prst="rect">
              <a:avLst/>
            </a:prstGeom>
          </p:spPr>
        </p:pic>
      </p:grpSp>
      <p:grpSp>
        <p:nvGrpSpPr>
          <p:cNvPr id="112" name="Gruppieren 111"/>
          <p:cNvGrpSpPr/>
          <p:nvPr/>
        </p:nvGrpSpPr>
        <p:grpSpPr>
          <a:xfrm>
            <a:off x="7805438" y="3024239"/>
            <a:ext cx="697111" cy="697111"/>
            <a:chOff x="7921427" y="3068960"/>
            <a:chExt cx="697111" cy="697111"/>
          </a:xfrm>
        </p:grpSpPr>
        <p:sp>
          <p:nvSpPr>
            <p:cNvPr id="113" name="Ellipse 112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4" name="Grafik 113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87338" y="3134871"/>
              <a:ext cx="565290" cy="565290"/>
            </a:xfrm>
            <a:prstGeom prst="rect">
              <a:avLst/>
            </a:prstGeom>
          </p:spPr>
        </p:pic>
      </p:grpSp>
      <p:grpSp>
        <p:nvGrpSpPr>
          <p:cNvPr id="136" name="Gruppieren 135"/>
          <p:cNvGrpSpPr/>
          <p:nvPr/>
        </p:nvGrpSpPr>
        <p:grpSpPr>
          <a:xfrm>
            <a:off x="2068420" y="3024239"/>
            <a:ext cx="697111" cy="697111"/>
            <a:chOff x="1389967" y="4005064"/>
            <a:chExt cx="697111" cy="697111"/>
          </a:xfrm>
        </p:grpSpPr>
        <p:sp>
          <p:nvSpPr>
            <p:cNvPr id="137" name="Ellipse 136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8" name="Grafik 137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6800" y="4061897"/>
              <a:ext cx="583446" cy="583446"/>
            </a:xfrm>
            <a:prstGeom prst="rect">
              <a:avLst/>
            </a:prstGeom>
          </p:spPr>
        </p:pic>
      </p:grpSp>
      <p:grpSp>
        <p:nvGrpSpPr>
          <p:cNvPr id="184" name="Gruppieren 183"/>
          <p:cNvGrpSpPr/>
          <p:nvPr/>
        </p:nvGrpSpPr>
        <p:grpSpPr>
          <a:xfrm>
            <a:off x="3707568" y="3024239"/>
            <a:ext cx="697111" cy="697111"/>
            <a:chOff x="6288565" y="4005064"/>
            <a:chExt cx="697111" cy="697111"/>
          </a:xfrm>
        </p:grpSpPr>
        <p:sp>
          <p:nvSpPr>
            <p:cNvPr id="185" name="Ellipse 184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6" name="Grafik 185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1086" y="4057585"/>
              <a:ext cx="592070" cy="592070"/>
            </a:xfrm>
            <a:prstGeom prst="rect">
              <a:avLst/>
            </a:prstGeom>
          </p:spPr>
        </p:pic>
      </p:grpSp>
      <p:grpSp>
        <p:nvGrpSpPr>
          <p:cNvPr id="300" name="Gruppieren 299"/>
          <p:cNvGrpSpPr/>
          <p:nvPr/>
        </p:nvGrpSpPr>
        <p:grpSpPr>
          <a:xfrm>
            <a:off x="5346716" y="3024239"/>
            <a:ext cx="697111" cy="697111"/>
            <a:chOff x="3022833" y="2155825"/>
            <a:chExt cx="697111" cy="697111"/>
          </a:xfrm>
        </p:grpSpPr>
        <p:sp>
          <p:nvSpPr>
            <p:cNvPr id="301" name="Ellipse 300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2" name="Grafik 301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6025" y="2219848"/>
              <a:ext cx="510728" cy="510728"/>
            </a:xfrm>
            <a:prstGeom prst="rect">
              <a:avLst/>
            </a:prstGeom>
          </p:spPr>
        </p:pic>
      </p:grpSp>
      <p:grpSp>
        <p:nvGrpSpPr>
          <p:cNvPr id="159" name="Gruppieren 158"/>
          <p:cNvGrpSpPr/>
          <p:nvPr/>
        </p:nvGrpSpPr>
        <p:grpSpPr>
          <a:xfrm>
            <a:off x="6166290" y="3024239"/>
            <a:ext cx="697111" cy="697111"/>
            <a:chOff x="7921427" y="3068960"/>
            <a:chExt cx="697111" cy="697111"/>
          </a:xfrm>
        </p:grpSpPr>
        <p:sp>
          <p:nvSpPr>
            <p:cNvPr id="160" name="Ellipse 159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1" name="Grafik 160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9956" y="3117489"/>
              <a:ext cx="600054" cy="600054"/>
            </a:xfrm>
            <a:prstGeom prst="rect">
              <a:avLst/>
            </a:prstGeom>
          </p:spPr>
        </p:pic>
      </p:grpSp>
      <p:grpSp>
        <p:nvGrpSpPr>
          <p:cNvPr id="174" name="Gruppieren 173"/>
          <p:cNvGrpSpPr/>
          <p:nvPr/>
        </p:nvGrpSpPr>
        <p:grpSpPr>
          <a:xfrm>
            <a:off x="6985864" y="3024239"/>
            <a:ext cx="697111" cy="697111"/>
            <a:chOff x="7921427" y="3068960"/>
            <a:chExt cx="697111" cy="697111"/>
          </a:xfrm>
        </p:grpSpPr>
        <p:sp>
          <p:nvSpPr>
            <p:cNvPr id="175" name="Ellipse 174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6" name="Grafik 175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54" name="Gruppieren 353"/>
          <p:cNvGrpSpPr/>
          <p:nvPr/>
        </p:nvGrpSpPr>
        <p:grpSpPr>
          <a:xfrm>
            <a:off x="9444585" y="3024239"/>
            <a:ext cx="697111" cy="697111"/>
            <a:chOff x="7104998" y="4941168"/>
            <a:chExt cx="697111" cy="697111"/>
          </a:xfrm>
        </p:grpSpPr>
        <p:sp>
          <p:nvSpPr>
            <p:cNvPr id="355" name="Ellipse 354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6" name="Grafik 355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6532" y="4972702"/>
              <a:ext cx="634044" cy="634044"/>
            </a:xfrm>
            <a:prstGeom prst="rect">
              <a:avLst/>
            </a:prstGeom>
          </p:spPr>
        </p:pic>
      </p:grpSp>
      <p:grpSp>
        <p:nvGrpSpPr>
          <p:cNvPr id="357" name="Gruppieren 356"/>
          <p:cNvGrpSpPr/>
          <p:nvPr/>
        </p:nvGrpSpPr>
        <p:grpSpPr>
          <a:xfrm>
            <a:off x="8625012" y="3024239"/>
            <a:ext cx="697111" cy="697111"/>
            <a:chOff x="7104998" y="3068960"/>
            <a:chExt cx="697111" cy="697111"/>
          </a:xfrm>
        </p:grpSpPr>
        <p:sp>
          <p:nvSpPr>
            <p:cNvPr id="358" name="Ellipse 357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9" name="Grafik 358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0845" y="3100860"/>
              <a:ext cx="605418" cy="605418"/>
            </a:xfrm>
            <a:prstGeom prst="rect">
              <a:avLst/>
            </a:prstGeom>
          </p:spPr>
        </p:pic>
      </p:grpSp>
      <p:grpSp>
        <p:nvGrpSpPr>
          <p:cNvPr id="258" name="Gruppieren 257"/>
          <p:cNvGrpSpPr/>
          <p:nvPr/>
        </p:nvGrpSpPr>
        <p:grpSpPr>
          <a:xfrm>
            <a:off x="2068420" y="5593472"/>
            <a:ext cx="697111" cy="697111"/>
            <a:chOff x="3022833" y="4941168"/>
            <a:chExt cx="697111" cy="697111"/>
          </a:xfrm>
        </p:grpSpPr>
        <p:sp>
          <p:nvSpPr>
            <p:cNvPr id="259" name="Ellipse 258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0" name="Grafik 259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2670" y="4998001"/>
              <a:ext cx="560442" cy="560442"/>
            </a:xfrm>
            <a:prstGeom prst="rect">
              <a:avLst/>
            </a:prstGeom>
          </p:spPr>
        </p:pic>
      </p:grpSp>
      <p:grpSp>
        <p:nvGrpSpPr>
          <p:cNvPr id="312" name="Gruppieren 311"/>
          <p:cNvGrpSpPr/>
          <p:nvPr/>
        </p:nvGrpSpPr>
        <p:grpSpPr>
          <a:xfrm>
            <a:off x="2887994" y="5593472"/>
            <a:ext cx="697111" cy="697111"/>
            <a:chOff x="3839266" y="3068960"/>
            <a:chExt cx="697111" cy="697111"/>
          </a:xfrm>
        </p:grpSpPr>
        <p:sp>
          <p:nvSpPr>
            <p:cNvPr id="313" name="Ellipse 312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4" name="Grafik 313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04790" y="3100888"/>
              <a:ext cx="577566" cy="577566"/>
            </a:xfrm>
            <a:prstGeom prst="rect">
              <a:avLst/>
            </a:prstGeom>
          </p:spPr>
        </p:pic>
      </p:grpSp>
      <p:grpSp>
        <p:nvGrpSpPr>
          <p:cNvPr id="162" name="Gruppieren 161"/>
          <p:cNvGrpSpPr/>
          <p:nvPr/>
        </p:nvGrpSpPr>
        <p:grpSpPr>
          <a:xfrm>
            <a:off x="3712566" y="5593472"/>
            <a:ext cx="697111" cy="697111"/>
            <a:chOff x="5472132" y="4005064"/>
            <a:chExt cx="697111" cy="697111"/>
          </a:xfrm>
        </p:grpSpPr>
        <p:sp>
          <p:nvSpPr>
            <p:cNvPr id="163" name="Ellipse 162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4" name="Grafik 163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7622" y="4072087"/>
              <a:ext cx="546132" cy="546132"/>
            </a:xfrm>
            <a:prstGeom prst="rect">
              <a:avLst/>
            </a:prstGeom>
          </p:spPr>
        </p:pic>
      </p:grpSp>
      <p:grpSp>
        <p:nvGrpSpPr>
          <p:cNvPr id="165" name="Gruppieren 164"/>
          <p:cNvGrpSpPr/>
          <p:nvPr/>
        </p:nvGrpSpPr>
        <p:grpSpPr>
          <a:xfrm>
            <a:off x="5341718" y="5593472"/>
            <a:ext cx="697111" cy="697111"/>
            <a:chOff x="2206400" y="4941168"/>
            <a:chExt cx="697111" cy="697111"/>
          </a:xfrm>
        </p:grpSpPr>
        <p:sp>
          <p:nvSpPr>
            <p:cNvPr id="166" name="Ellipse 165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1518" y="5011022"/>
              <a:ext cx="585096" cy="585096"/>
            </a:xfrm>
            <a:prstGeom prst="rect">
              <a:avLst/>
            </a:prstGeom>
          </p:spPr>
        </p:pic>
      </p:grpSp>
      <p:grpSp>
        <p:nvGrpSpPr>
          <p:cNvPr id="168" name="Gruppieren 167"/>
          <p:cNvGrpSpPr/>
          <p:nvPr/>
        </p:nvGrpSpPr>
        <p:grpSpPr>
          <a:xfrm>
            <a:off x="4527142" y="5593472"/>
            <a:ext cx="697111" cy="697111"/>
            <a:chOff x="2206400" y="2155825"/>
            <a:chExt cx="697111" cy="697111"/>
          </a:xfrm>
        </p:grpSpPr>
        <p:sp>
          <p:nvSpPr>
            <p:cNvPr id="169" name="Ellipse 168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0" name="Grafik 169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6367" y="2227537"/>
              <a:ext cx="514176" cy="514176"/>
            </a:xfrm>
            <a:prstGeom prst="rect">
              <a:avLst/>
            </a:prstGeom>
          </p:spPr>
        </p:pic>
      </p:grpSp>
      <p:grpSp>
        <p:nvGrpSpPr>
          <p:cNvPr id="171" name="Gruppieren 170"/>
          <p:cNvGrpSpPr/>
          <p:nvPr/>
        </p:nvGrpSpPr>
        <p:grpSpPr>
          <a:xfrm>
            <a:off x="6161292" y="5593472"/>
            <a:ext cx="697111" cy="697111"/>
            <a:chOff x="573534" y="4005064"/>
            <a:chExt cx="697111" cy="697111"/>
          </a:xfrm>
        </p:grpSpPr>
        <p:sp>
          <p:nvSpPr>
            <p:cNvPr id="172" name="Ellipse 171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3" name="Grafik 172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773" y="4076727"/>
              <a:ext cx="530782" cy="530782"/>
            </a:xfrm>
            <a:prstGeom prst="rect">
              <a:avLst/>
            </a:prstGeom>
          </p:spPr>
        </p:pic>
      </p:grpSp>
      <p:grpSp>
        <p:nvGrpSpPr>
          <p:cNvPr id="189" name="Gruppieren 188"/>
          <p:cNvGrpSpPr/>
          <p:nvPr/>
        </p:nvGrpSpPr>
        <p:grpSpPr>
          <a:xfrm>
            <a:off x="6985864" y="5593472"/>
            <a:ext cx="697111" cy="697111"/>
            <a:chOff x="5472132" y="3068960"/>
            <a:chExt cx="697111" cy="697111"/>
          </a:xfrm>
        </p:grpSpPr>
        <p:sp>
          <p:nvSpPr>
            <p:cNvPr id="190" name="Ellipse 189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1" name="Grafik 190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92" name="Gruppieren 191"/>
          <p:cNvGrpSpPr/>
          <p:nvPr/>
        </p:nvGrpSpPr>
        <p:grpSpPr>
          <a:xfrm>
            <a:off x="9432924" y="4763530"/>
            <a:ext cx="697111" cy="697111"/>
            <a:chOff x="7104998" y="3068960"/>
            <a:chExt cx="697111" cy="697111"/>
          </a:xfrm>
          <a:solidFill>
            <a:schemeClr val="tx2"/>
          </a:solidFill>
        </p:grpSpPr>
        <p:sp>
          <p:nvSpPr>
            <p:cNvPr id="193" name="Ellipse 192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4" name="Grafik 193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1102" y="3127219"/>
              <a:ext cx="524904" cy="524904"/>
            </a:xfrm>
            <a:prstGeom prst="rect">
              <a:avLst/>
            </a:prstGeom>
            <a:noFill/>
          </p:spPr>
        </p:pic>
      </p:grpSp>
      <p:grpSp>
        <p:nvGrpSpPr>
          <p:cNvPr id="195" name="Gruppieren 194"/>
          <p:cNvGrpSpPr/>
          <p:nvPr/>
        </p:nvGrpSpPr>
        <p:grpSpPr>
          <a:xfrm>
            <a:off x="7805438" y="5593472"/>
            <a:ext cx="697111" cy="697111"/>
            <a:chOff x="6288565" y="3068960"/>
            <a:chExt cx="697111" cy="697111"/>
          </a:xfrm>
        </p:grpSpPr>
        <p:sp>
          <p:nvSpPr>
            <p:cNvPr id="196" name="Ellipse 195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7" name="Grafik 196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3161520"/>
              <a:ext cx="472480" cy="472480"/>
            </a:xfrm>
            <a:prstGeom prst="rect">
              <a:avLst/>
            </a:prstGeom>
            <a:noFill/>
          </p:spPr>
        </p:pic>
      </p:grpSp>
      <p:grpSp>
        <p:nvGrpSpPr>
          <p:cNvPr id="366" name="Gruppieren 365"/>
          <p:cNvGrpSpPr/>
          <p:nvPr/>
        </p:nvGrpSpPr>
        <p:grpSpPr>
          <a:xfrm>
            <a:off x="7805438" y="4745550"/>
            <a:ext cx="697111" cy="697111"/>
            <a:chOff x="2206400" y="4941168"/>
            <a:chExt cx="697111" cy="697111"/>
          </a:xfrm>
        </p:grpSpPr>
        <p:sp>
          <p:nvSpPr>
            <p:cNvPr id="367" name="Ellipse 366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68" name="Grafik 367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9502" y="4972139"/>
              <a:ext cx="616854" cy="616854"/>
            </a:xfrm>
            <a:prstGeom prst="rect">
              <a:avLst/>
            </a:prstGeom>
          </p:spPr>
        </p:pic>
      </p:grpSp>
      <p:grpSp>
        <p:nvGrpSpPr>
          <p:cNvPr id="369" name="Gruppieren 368"/>
          <p:cNvGrpSpPr/>
          <p:nvPr/>
        </p:nvGrpSpPr>
        <p:grpSpPr>
          <a:xfrm>
            <a:off x="3707568" y="4745550"/>
            <a:ext cx="697111" cy="697111"/>
            <a:chOff x="7921427" y="2155825"/>
            <a:chExt cx="697111" cy="697111"/>
          </a:xfrm>
        </p:grpSpPr>
        <p:sp>
          <p:nvSpPr>
            <p:cNvPr id="370" name="Ellipse 369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1" name="Grafik 370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2638" y="2207036"/>
              <a:ext cx="594690" cy="594690"/>
            </a:xfrm>
            <a:prstGeom prst="rect">
              <a:avLst/>
            </a:prstGeom>
          </p:spPr>
        </p:pic>
      </p:grpSp>
      <p:grpSp>
        <p:nvGrpSpPr>
          <p:cNvPr id="372" name="Gruppieren 371"/>
          <p:cNvGrpSpPr/>
          <p:nvPr/>
        </p:nvGrpSpPr>
        <p:grpSpPr>
          <a:xfrm>
            <a:off x="5346716" y="4745550"/>
            <a:ext cx="697111" cy="697111"/>
            <a:chOff x="2206400" y="4005064"/>
            <a:chExt cx="697111" cy="697111"/>
          </a:xfrm>
        </p:grpSpPr>
        <p:sp>
          <p:nvSpPr>
            <p:cNvPr id="373" name="Ellipse 372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4" name="Grafik 373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9193" y="4044530"/>
              <a:ext cx="599864" cy="599864"/>
            </a:xfrm>
            <a:prstGeom prst="rect">
              <a:avLst/>
            </a:prstGeom>
          </p:spPr>
        </p:pic>
      </p:grpSp>
      <p:grpSp>
        <p:nvGrpSpPr>
          <p:cNvPr id="375" name="Gruppieren 374"/>
          <p:cNvGrpSpPr/>
          <p:nvPr/>
        </p:nvGrpSpPr>
        <p:grpSpPr>
          <a:xfrm>
            <a:off x="4527142" y="4745550"/>
            <a:ext cx="697111" cy="697111"/>
            <a:chOff x="7104998" y="3068960"/>
            <a:chExt cx="697111" cy="697111"/>
          </a:xfrm>
        </p:grpSpPr>
        <p:sp>
          <p:nvSpPr>
            <p:cNvPr id="376" name="Ellipse 375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7" name="Grafik 376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3655" y="3157617"/>
              <a:ext cx="519798" cy="519798"/>
            </a:xfrm>
            <a:prstGeom prst="rect">
              <a:avLst/>
            </a:prstGeom>
          </p:spPr>
        </p:pic>
      </p:grpSp>
      <p:grpSp>
        <p:nvGrpSpPr>
          <p:cNvPr id="378" name="Gruppieren 377"/>
          <p:cNvGrpSpPr/>
          <p:nvPr/>
        </p:nvGrpSpPr>
        <p:grpSpPr>
          <a:xfrm>
            <a:off x="6985864" y="4745550"/>
            <a:ext cx="697111" cy="697111"/>
            <a:chOff x="573534" y="4005064"/>
            <a:chExt cx="697111" cy="697111"/>
          </a:xfrm>
        </p:grpSpPr>
        <p:sp>
          <p:nvSpPr>
            <p:cNvPr id="379" name="Ellipse 378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0" name="Grafik 379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104" y="4087999"/>
              <a:ext cx="548176" cy="548176"/>
            </a:xfrm>
            <a:prstGeom prst="rect">
              <a:avLst/>
            </a:prstGeom>
          </p:spPr>
        </p:pic>
      </p:grpSp>
      <p:grpSp>
        <p:nvGrpSpPr>
          <p:cNvPr id="381" name="Gruppieren 380"/>
          <p:cNvGrpSpPr/>
          <p:nvPr/>
        </p:nvGrpSpPr>
        <p:grpSpPr>
          <a:xfrm>
            <a:off x="6166290" y="4745550"/>
            <a:ext cx="697111" cy="697111"/>
            <a:chOff x="3022833" y="3068960"/>
            <a:chExt cx="697111" cy="697111"/>
          </a:xfrm>
        </p:grpSpPr>
        <p:sp>
          <p:nvSpPr>
            <p:cNvPr id="382" name="Ellipse 381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3" name="Grafik 382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84" name="Gruppieren 383"/>
          <p:cNvGrpSpPr/>
          <p:nvPr/>
        </p:nvGrpSpPr>
        <p:grpSpPr>
          <a:xfrm>
            <a:off x="2887994" y="4745550"/>
            <a:ext cx="697111" cy="697111"/>
            <a:chOff x="7921427" y="4005064"/>
            <a:chExt cx="697111" cy="697111"/>
          </a:xfrm>
        </p:grpSpPr>
        <p:sp>
          <p:nvSpPr>
            <p:cNvPr id="385" name="Ellipse 384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6" name="Grafik 385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3947" y="4047584"/>
              <a:ext cx="612072" cy="612072"/>
            </a:xfrm>
            <a:prstGeom prst="rect">
              <a:avLst/>
            </a:prstGeom>
          </p:spPr>
        </p:pic>
      </p:grpSp>
      <p:grpSp>
        <p:nvGrpSpPr>
          <p:cNvPr id="387" name="Gruppieren 386"/>
          <p:cNvGrpSpPr/>
          <p:nvPr/>
        </p:nvGrpSpPr>
        <p:grpSpPr>
          <a:xfrm>
            <a:off x="2068420" y="4745550"/>
            <a:ext cx="697111" cy="697111"/>
            <a:chOff x="2206400" y="2155825"/>
            <a:chExt cx="697111" cy="697111"/>
          </a:xfrm>
        </p:grpSpPr>
        <p:sp>
          <p:nvSpPr>
            <p:cNvPr id="388" name="Ellipse 387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9" name="Grafik 388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6237" y="2201158"/>
              <a:ext cx="606448" cy="606448"/>
            </a:xfrm>
            <a:prstGeom prst="rect">
              <a:avLst/>
            </a:prstGeom>
          </p:spPr>
        </p:pic>
      </p:grpSp>
      <p:grpSp>
        <p:nvGrpSpPr>
          <p:cNvPr id="390" name="Gruppieren 389"/>
          <p:cNvGrpSpPr/>
          <p:nvPr/>
        </p:nvGrpSpPr>
        <p:grpSpPr>
          <a:xfrm>
            <a:off x="8613345" y="4733883"/>
            <a:ext cx="720436" cy="720436"/>
            <a:chOff x="5460470" y="4929506"/>
            <a:chExt cx="720436" cy="720436"/>
          </a:xfrm>
        </p:grpSpPr>
        <p:sp>
          <p:nvSpPr>
            <p:cNvPr id="391" name="Ellipse 390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92" name="Grafik 391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0470" y="4929506"/>
              <a:ext cx="720436" cy="7204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46808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ogos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129" y="2167629"/>
            <a:ext cx="2647204" cy="38573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129" y="3142843"/>
            <a:ext cx="3673494" cy="386624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9736" y="2180829"/>
            <a:ext cx="2632802" cy="66727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301" y="3861048"/>
            <a:ext cx="2071280" cy="212158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9736" y="3142843"/>
            <a:ext cx="2621042" cy="65900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9736" y="4096586"/>
            <a:ext cx="2647488" cy="67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7994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 smtClean="0"/>
              <a:t>Icons und Logos</a:t>
            </a:r>
          </a:p>
          <a:p>
            <a:r>
              <a:rPr lang="de-DE" b="1" dirty="0">
                <a:solidFill>
                  <a:schemeClr val="tx2"/>
                </a:solidFill>
              </a:rPr>
              <a:t>Titelvarianten</a:t>
            </a:r>
            <a:endParaRPr lang="de-DE" dirty="0" smtClean="0"/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7761361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588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695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1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713923" y="1196752"/>
            <a:ext cx="10752667" cy="461665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97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928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hecklist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064000" y="2160000"/>
            <a:ext cx="8064500" cy="4146468"/>
          </a:xfrm>
        </p:spPr>
        <p:txBody>
          <a:bodyPr numCol="3" spcCol="180000">
            <a:noAutofit/>
          </a:bodyPr>
          <a:lstStyle/>
          <a:p>
            <a:r>
              <a:rPr lang="de-DE" sz="1150" dirty="0"/>
              <a:t>Laden Sie sich den aktuellen Präsentationsmaster immer neu aus dem Intranet oder SharePoint da dieser laufend aktualisiert wird</a:t>
            </a:r>
          </a:p>
          <a:p>
            <a:r>
              <a:rPr lang="de-DE" sz="1150" dirty="0"/>
              <a:t>Gibt es Notizen und sind diese nach Bearbeitung entfernt worden?</a:t>
            </a:r>
          </a:p>
          <a:p>
            <a:r>
              <a:rPr lang="de-DE" sz="1150" dirty="0"/>
              <a:t>Gibt es Animationen und sind diese sinnvoll eingesetzt?</a:t>
            </a:r>
          </a:p>
          <a:p>
            <a:r>
              <a:rPr lang="de-DE" sz="1150" dirty="0"/>
              <a:t>Ist die Fußzeile dem Titel entsprechend?</a:t>
            </a:r>
          </a:p>
          <a:p>
            <a:r>
              <a:rPr lang="de-DE" sz="1150" dirty="0"/>
              <a:t>Sind die BITMARCK-Farben überall verwendet worden? Sie können das gesamte Spektrum der „Designfarben“ verwenden</a:t>
            </a:r>
          </a:p>
          <a:p>
            <a:r>
              <a:rPr lang="de-DE" sz="1150" dirty="0"/>
              <a:t>Sind alle Texte in Arial? </a:t>
            </a:r>
            <a:br>
              <a:rPr lang="de-DE" sz="1150" dirty="0"/>
            </a:br>
            <a:r>
              <a:rPr lang="de-DE" sz="1150" dirty="0"/>
              <a:t>(auf allen Charts mit Tastaturkürzel Strg + a alles markieren und auf Menü „Start“ die Schriftart im Auge behalten</a:t>
            </a:r>
          </a:p>
          <a:p>
            <a:r>
              <a:rPr lang="de-DE" sz="1150" dirty="0"/>
              <a:t>Sind alle Texte ähnlich im Größenverhältnis?</a:t>
            </a:r>
          </a:p>
          <a:p>
            <a:r>
              <a:rPr lang="de-DE" sz="1150" dirty="0"/>
              <a:t>Sind Elemente bündig (links-, rechts, oben und unten) ausgerichtet oder lässt sich noch etwas optimieren?</a:t>
            </a:r>
          </a:p>
          <a:p>
            <a:r>
              <a:rPr lang="de-DE" sz="1150" dirty="0"/>
              <a:t>Lesen und korrigieren </a:t>
            </a:r>
          </a:p>
          <a:p>
            <a:pPr lvl="1"/>
            <a:r>
              <a:rPr lang="de-DE" sz="1150" dirty="0"/>
              <a:t>Gedankenstriche richtig gesetzt (alt + 0150)?</a:t>
            </a:r>
          </a:p>
          <a:p>
            <a:pPr lvl="1"/>
            <a:r>
              <a:rPr lang="de-DE" sz="1150" dirty="0"/>
              <a:t>Sind die Produkte und Begriffe richtig geschrieben? (siehe Corporate-Design-Handbuch im Intranet unter Kommunikation &gt; Corporate Design oder Excel-Liste unter Kommunikation &gt; Terminologie und Glossar) </a:t>
            </a:r>
          </a:p>
          <a:p>
            <a:pPr lvl="1"/>
            <a:r>
              <a:rPr lang="de-DE" sz="1150" dirty="0"/>
              <a:t>keine Leerzeichen vor Satzzeichen</a:t>
            </a:r>
          </a:p>
          <a:p>
            <a:pPr lvl="1"/>
            <a:r>
              <a:rPr lang="de-DE" sz="1150" dirty="0"/>
              <a:t>Entfernen Sie „schreiende“ Satzzeichen: „?!“, „??“, „!!“, „!?“</a:t>
            </a:r>
          </a:p>
          <a:p>
            <a:pPr lvl="1"/>
            <a:r>
              <a:rPr lang="de-DE" sz="1150" dirty="0"/>
              <a:t>Vermeiden Sie Großbuchstaben in Fließtexten, Texte können </a:t>
            </a:r>
            <a:br>
              <a:rPr lang="de-DE" sz="1150" dirty="0"/>
            </a:br>
            <a:r>
              <a:rPr lang="de-DE" sz="1150" dirty="0"/>
              <a:t>u. a. durch Farbe und fetten hervorgehoben werden</a:t>
            </a:r>
          </a:p>
          <a:p>
            <a:pPr lvl="1"/>
            <a:r>
              <a:rPr lang="de-DE" sz="1150" dirty="0"/>
              <a:t>Abkürzungen wenn möglich immer ausschreiben</a:t>
            </a:r>
          </a:p>
          <a:p>
            <a:r>
              <a:rPr lang="de-DE" sz="1150" dirty="0"/>
              <a:t>Es dürfen keine Bilder und Grafiken aus dem Internet kopiert und eingefügt werden, Bildmaterial gibt es Intranet unter Dokumente &gt; Bildergalerie</a:t>
            </a:r>
          </a:p>
          <a:p>
            <a:r>
              <a:rPr lang="de-DE" sz="1150" dirty="0"/>
              <a:t>Zum Schluss: Sind die Übergänge alle auf „verblassen“ wie im Master? Neu angelegte Folien übernehmen diese Einstellung ggf. nicht. Andere Übergänge (passend zum Inhalt) sind erlaubt</a:t>
            </a:r>
          </a:p>
          <a:p>
            <a:r>
              <a:rPr lang="de-DE" sz="1150" dirty="0"/>
              <a:t>Abschließend die gesamte Datei im Präsentationsmodus testen</a:t>
            </a:r>
          </a:p>
        </p:txBody>
      </p:sp>
      <p:sp>
        <p:nvSpPr>
          <p:cNvPr id="4" name="Abgerundetes Rechteck 3"/>
          <p:cNvSpPr/>
          <p:nvPr/>
        </p:nvSpPr>
        <p:spPr>
          <a:xfrm>
            <a:off x="8056538" y="5545542"/>
            <a:ext cx="2088232" cy="760926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0000" tIns="90000" rIns="90000" bIns="90000" anchor="ctr" anchorCtr="0">
            <a:noAutofit/>
          </a:bodyPr>
          <a:lstStyle/>
          <a:p>
            <a:pPr algn="ctr"/>
            <a:r>
              <a:rPr lang="de-DE" sz="900" b="1" dirty="0"/>
              <a:t>Zur Erweiterung dieser Datei sowie Fragen senden Sie bitte eine E-Mail an </a:t>
            </a:r>
            <a:r>
              <a:rPr lang="de-DE" sz="900" b="1" dirty="0">
                <a:hlinkClick r:id="rId2"/>
              </a:rPr>
              <a:t>kommunikation@bitmarck.de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0406779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70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648" y="1124744"/>
            <a:ext cx="5069940" cy="3800566"/>
          </a:xfrm>
          <a:prstGeom prst="rect">
            <a:avLst/>
          </a:prstGeom>
        </p:spPr>
      </p:pic>
      <p:sp>
        <p:nvSpPr>
          <p:cNvPr id="5" name="Textplatzhalter 8"/>
          <p:cNvSpPr>
            <a:spLocks noGrp="1"/>
          </p:cNvSpPr>
          <p:nvPr>
            <p:ph type="body" idx="10"/>
          </p:nvPr>
        </p:nvSpPr>
        <p:spPr>
          <a:xfrm>
            <a:off x="720002" y="4860005"/>
            <a:ext cx="10767151" cy="1442375"/>
          </a:xfrm>
        </p:spPr>
        <p:txBody>
          <a:bodyPr/>
          <a:lstStyle/>
          <a:p>
            <a:r>
              <a:rPr lang="de-DE" b="1" dirty="0" smtClean="0"/>
              <a:t>Vorname Nachname Referent, BITMARCK</a:t>
            </a:r>
            <a:endParaRPr lang="de-DE" b="1" dirty="0"/>
          </a:p>
          <a:p>
            <a:r>
              <a:rPr lang="de-DE" dirty="0" smtClean="0"/>
              <a:t>Ort, TT. Monat JJJ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417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</a:p>
          <a:p>
            <a:r>
              <a:rPr lang="de-DE" dirty="0" smtClean="0"/>
              <a:t>Titelvarianten </a:t>
            </a:r>
          </a:p>
          <a:p>
            <a:r>
              <a:rPr lang="de-DE" b="1" dirty="0" err="1" smtClean="0">
                <a:solidFill>
                  <a:schemeClr val="tx2"/>
                </a:solidFill>
              </a:rPr>
              <a:t>Kapiteltrenner</a:t>
            </a:r>
            <a:endParaRPr lang="de-DE" b="1" dirty="0" smtClean="0">
              <a:solidFill>
                <a:schemeClr val="tx2"/>
              </a:solidFill>
            </a:endParaRPr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40605763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9" r="5369"/>
          <a:stretch>
            <a:fillRect/>
          </a:stretch>
        </p:blipFill>
        <p:spPr>
          <a:xfrm>
            <a:off x="-48000" y="-1467544"/>
            <a:ext cx="12240000" cy="9117632"/>
          </a:xfrm>
        </p:spPr>
      </p:pic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839416" y="2132856"/>
            <a:ext cx="2807863" cy="560889"/>
          </a:xfrm>
        </p:spPr>
        <p:txBody>
          <a:bodyPr/>
          <a:lstStyle/>
          <a:p>
            <a:r>
              <a:rPr lang="de-DE" b="1" dirty="0" smtClean="0"/>
              <a:t>Tex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12953478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solidFill>
            <a:schemeClr val="tx2"/>
          </a:solidFill>
        </p:spPr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2064005" y="2160005"/>
            <a:ext cx="4021137" cy="723707"/>
          </a:xfrm>
          <a:noFill/>
        </p:spPr>
        <p:txBody>
          <a:bodyPr/>
          <a:lstStyle/>
          <a:p>
            <a:r>
              <a:rPr lang="de-DE" sz="3500" dirty="0"/>
              <a:t>Text</a:t>
            </a:r>
          </a:p>
        </p:txBody>
      </p:sp>
      <p:pic>
        <p:nvPicPr>
          <p:cNvPr id="6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188640"/>
            <a:ext cx="269952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47349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  <a:endParaRPr lang="de-DE" dirty="0"/>
          </a:p>
          <a:p>
            <a:r>
              <a:rPr lang="de-DE" dirty="0"/>
              <a:t>Titelvarianten </a:t>
            </a:r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b="1" dirty="0" smtClean="0">
                <a:solidFill>
                  <a:schemeClr val="tx2"/>
                </a:solidFill>
              </a:rPr>
              <a:t>Text</a:t>
            </a:r>
          </a:p>
          <a:p>
            <a:r>
              <a:rPr lang="de-DE" dirty="0" smtClean="0"/>
              <a:t>Zitate</a:t>
            </a:r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32727634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243999" y="2340000"/>
            <a:ext cx="7668000" cy="2000548"/>
          </a:xfrm>
        </p:spPr>
        <p:txBody>
          <a:bodyPr numCol="1" spcCol="0"/>
          <a:lstStyle/>
          <a:p>
            <a:r>
              <a:rPr lang="de-DE" dirty="0"/>
              <a:t>Lorem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 smtClean="0"/>
              <a:t>.</a:t>
            </a:r>
            <a:endParaRPr lang="de-DE" dirty="0"/>
          </a:p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 smtClean="0"/>
              <a:t>.</a:t>
            </a:r>
            <a:endParaRPr lang="de-DE" dirty="0"/>
          </a:p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5252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20002" y="2160005"/>
            <a:ext cx="10752667" cy="1538883"/>
          </a:xfrm>
        </p:spPr>
        <p:txBody>
          <a:bodyPr numCol="1" spcCol="0"/>
          <a:lstStyle/>
          <a:p>
            <a:r>
              <a:rPr lang="de-DE" dirty="0"/>
              <a:t>Lorem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 smtClean="0"/>
              <a:t>.</a:t>
            </a:r>
            <a:endParaRPr lang="de-DE" dirty="0"/>
          </a:p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 smtClean="0"/>
              <a:t>.</a:t>
            </a:r>
            <a:endParaRPr lang="de-DE" dirty="0"/>
          </a:p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1178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243999" y="2340000"/>
            <a:ext cx="7668000" cy="2817192"/>
          </a:xfrm>
        </p:spPr>
        <p:txBody>
          <a:bodyPr numCol="2" spcCol="360000"/>
          <a:lstStyle/>
          <a:p>
            <a:r>
              <a:rPr lang="de-DE" dirty="0" smtClean="0"/>
              <a:t>Lorem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Aenean</a:t>
            </a:r>
            <a:r>
              <a:rPr lang="de-DE" dirty="0" smtClean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Donec</a:t>
            </a:r>
            <a:r>
              <a:rPr lang="de-DE" dirty="0" smtClean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Nulla</a:t>
            </a:r>
            <a:r>
              <a:rPr lang="de-DE" dirty="0" smtClean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smtClean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Aenean</a:t>
            </a:r>
            <a:r>
              <a:rPr lang="de-DE" dirty="0" smtClean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1983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64000" y="2160000"/>
            <a:ext cx="8064500" cy="2925184"/>
          </a:xfrm>
        </p:spPr>
        <p:txBody>
          <a:bodyPr numCol="2" spcCol="360000"/>
          <a:lstStyle/>
          <a:p>
            <a:r>
              <a:rPr lang="de-DE" dirty="0" smtClean="0"/>
              <a:t>Lorem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Aenean</a:t>
            </a:r>
            <a:r>
              <a:rPr lang="de-DE" dirty="0" smtClean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Donec</a:t>
            </a:r>
            <a:r>
              <a:rPr lang="de-DE" dirty="0" smtClean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Nulla</a:t>
            </a:r>
            <a:r>
              <a:rPr lang="de-DE" dirty="0" smtClean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smtClean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endParaRPr lang="de-DE" dirty="0" smtClean="0"/>
          </a:p>
          <a:p>
            <a:r>
              <a:rPr lang="de-DE" dirty="0" err="1" smtClean="0"/>
              <a:t>Aenean</a:t>
            </a:r>
            <a:r>
              <a:rPr lang="de-DE" dirty="0" smtClean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04343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3"/>
            <a:ext cx="8064500" cy="3385542"/>
          </a:xfrm>
        </p:spPr>
        <p:txBody>
          <a:bodyPr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Icons </a:t>
            </a:r>
            <a:r>
              <a:rPr lang="de-DE" b="1" dirty="0" smtClean="0">
                <a:solidFill>
                  <a:schemeClr val="tx2"/>
                </a:solidFill>
              </a:rPr>
              <a:t>und Logos</a:t>
            </a:r>
          </a:p>
          <a:p>
            <a:r>
              <a:rPr lang="de-DE" dirty="0" smtClean="0"/>
              <a:t>Titelvarianten </a:t>
            </a:r>
            <a:endParaRPr lang="de-DE" dirty="0"/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84465909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6" t="1044" r="3100" b="268"/>
          <a:stretch/>
        </p:blipFill>
        <p:spPr>
          <a:xfrm>
            <a:off x="0" y="-1143000"/>
            <a:ext cx="12192000" cy="9144000"/>
          </a:xfrm>
          <a:prstGeom prst="rect">
            <a:avLst/>
          </a:prstGeom>
        </p:spPr>
      </p:pic>
      <p:sp>
        <p:nvSpPr>
          <p:cNvPr id="8" name="Auf der gleichen Seite des Rechtecks liegende Ecken abrunden 7"/>
          <p:cNvSpPr/>
          <p:nvPr/>
        </p:nvSpPr>
        <p:spPr>
          <a:xfrm>
            <a:off x="6705600" y="1981200"/>
            <a:ext cx="3733200" cy="4876800"/>
          </a:xfrm>
          <a:prstGeom prst="round2SameRect">
            <a:avLst>
              <a:gd name="adj1" fmla="val 4647"/>
              <a:gd name="adj2" fmla="val 0"/>
            </a:avLst>
          </a:prstGeom>
          <a:solidFill>
            <a:srgbClr val="232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1588" lvl="1"/>
            <a:r>
              <a:rPr lang="de-DE" b="1" kern="0" dirty="0">
                <a:solidFill>
                  <a:schemeClr val="bg1"/>
                </a:solidFill>
              </a:rPr>
              <a:t>Text auf Bild</a:t>
            </a:r>
          </a:p>
          <a:p>
            <a:pPr marL="1588" lvl="1"/>
            <a:endParaRPr lang="de-DE" sz="1300" kern="0" dirty="0">
              <a:solidFill>
                <a:schemeClr val="bg1"/>
              </a:solidFill>
            </a:endParaRPr>
          </a:p>
          <a:p>
            <a:pPr marL="1588" lvl="1"/>
            <a:r>
              <a:rPr lang="de-DE" sz="1300" kern="0" dirty="0">
                <a:solidFill>
                  <a:schemeClr val="bg1"/>
                </a:solidFill>
              </a:rPr>
              <a:t>Lorem </a:t>
            </a:r>
            <a:r>
              <a:rPr lang="de-DE" sz="1300" kern="0" dirty="0" err="1">
                <a:solidFill>
                  <a:schemeClr val="bg1"/>
                </a:solidFill>
              </a:rPr>
              <a:t>ipsu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dolor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si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amet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consectetuer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adipiscing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lit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Aenean</a:t>
            </a:r>
            <a:r>
              <a:rPr lang="de-DE" sz="1300" kern="0" dirty="0">
                <a:solidFill>
                  <a:schemeClr val="bg1"/>
                </a:solidFill>
              </a:rPr>
              <a:t> commodo </a:t>
            </a:r>
            <a:r>
              <a:rPr lang="de-DE" sz="1300" kern="0" dirty="0" err="1">
                <a:solidFill>
                  <a:schemeClr val="bg1"/>
                </a:solidFill>
              </a:rPr>
              <a:t>ligula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ge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dolor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Aenean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massa</a:t>
            </a:r>
            <a:r>
              <a:rPr lang="de-DE" sz="1300" kern="0" dirty="0">
                <a:solidFill>
                  <a:schemeClr val="bg1"/>
                </a:solidFill>
              </a:rPr>
              <a:t>. Cum </a:t>
            </a:r>
            <a:r>
              <a:rPr lang="de-DE" sz="1300" kern="0" dirty="0" err="1">
                <a:solidFill>
                  <a:schemeClr val="bg1"/>
                </a:solidFill>
              </a:rPr>
              <a:t>soci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natoqu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penatibus</a:t>
            </a:r>
            <a:r>
              <a:rPr lang="de-DE" sz="1300" kern="0" dirty="0">
                <a:solidFill>
                  <a:schemeClr val="bg1"/>
                </a:solidFill>
              </a:rPr>
              <a:t> et </a:t>
            </a:r>
            <a:r>
              <a:rPr lang="de-DE" sz="1300" kern="0" dirty="0" err="1">
                <a:solidFill>
                  <a:schemeClr val="bg1"/>
                </a:solidFill>
              </a:rPr>
              <a:t>magn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d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parturien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montes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nascetur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ridiculu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mus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</a:p>
          <a:p>
            <a:pPr marL="1588" lvl="1"/>
            <a:endParaRPr lang="de-DE" sz="1300" kern="0" dirty="0">
              <a:solidFill>
                <a:schemeClr val="bg1"/>
              </a:solidFill>
            </a:endParaRPr>
          </a:p>
          <a:p>
            <a:pPr marL="1588" lvl="1"/>
            <a:r>
              <a:rPr lang="de-DE" sz="1300" kern="0" dirty="0" err="1">
                <a:solidFill>
                  <a:schemeClr val="bg1"/>
                </a:solidFill>
              </a:rPr>
              <a:t>Donec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qua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felis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ultricie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nec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pellentesqu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u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pretiu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quis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sem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Nulla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consequa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massa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qu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nim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Donec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ped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justo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fringilla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vel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alique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nec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vulputat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get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arcu</a:t>
            </a:r>
            <a:r>
              <a:rPr lang="de-DE" sz="1300" kern="0" dirty="0">
                <a:solidFill>
                  <a:schemeClr val="bg1"/>
                </a:solidFill>
              </a:rPr>
              <a:t>. In </a:t>
            </a:r>
            <a:r>
              <a:rPr lang="de-DE" sz="1300" kern="0" dirty="0" err="1">
                <a:solidFill>
                  <a:schemeClr val="bg1"/>
                </a:solidFill>
              </a:rPr>
              <a:t>eni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justo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rhoncu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ut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imperdiet</a:t>
            </a:r>
            <a:r>
              <a:rPr lang="de-DE" sz="1300" kern="0" dirty="0">
                <a:solidFill>
                  <a:schemeClr val="bg1"/>
                </a:solidFill>
              </a:rPr>
              <a:t> a, </a:t>
            </a:r>
            <a:r>
              <a:rPr lang="de-DE" sz="1300" kern="0" dirty="0" err="1">
                <a:solidFill>
                  <a:schemeClr val="bg1"/>
                </a:solidFill>
              </a:rPr>
              <a:t>venenat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vitae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justo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Nulla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dictu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fel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u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ped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molli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pretium</a:t>
            </a:r>
            <a:r>
              <a:rPr lang="de-DE" sz="1300" kern="0" dirty="0">
                <a:solidFill>
                  <a:schemeClr val="bg1"/>
                </a:solidFill>
              </a:rPr>
              <a:t>. Integer </a:t>
            </a:r>
            <a:r>
              <a:rPr lang="de-DE" sz="1300" kern="0" dirty="0" err="1">
                <a:solidFill>
                  <a:schemeClr val="bg1"/>
                </a:solidFill>
              </a:rPr>
              <a:t>tincidunt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Cra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dapibus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Vivamus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lementu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semper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nisi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Aenean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vulputate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leifend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tellus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Aenean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leo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ligula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porttitor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eu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consequat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vitae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eleifend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ac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enim</a:t>
            </a:r>
            <a:r>
              <a:rPr lang="de-DE" sz="1300" kern="0" dirty="0">
                <a:solidFill>
                  <a:schemeClr val="bg1"/>
                </a:solidFill>
              </a:rPr>
              <a:t>. </a:t>
            </a:r>
            <a:r>
              <a:rPr lang="de-DE" sz="1300" kern="0" dirty="0" err="1">
                <a:solidFill>
                  <a:schemeClr val="bg1"/>
                </a:solidFill>
              </a:rPr>
              <a:t>Aliquam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lorem</a:t>
            </a:r>
            <a:r>
              <a:rPr lang="de-DE" sz="1300" kern="0" dirty="0">
                <a:solidFill>
                  <a:schemeClr val="bg1"/>
                </a:solidFill>
              </a:rPr>
              <a:t> ante, </a:t>
            </a:r>
            <a:r>
              <a:rPr lang="de-DE" sz="1300" kern="0" dirty="0" err="1">
                <a:solidFill>
                  <a:schemeClr val="bg1"/>
                </a:solidFill>
              </a:rPr>
              <a:t>dapibus</a:t>
            </a:r>
            <a:r>
              <a:rPr lang="de-DE" sz="1300" kern="0" dirty="0">
                <a:solidFill>
                  <a:schemeClr val="bg1"/>
                </a:solidFill>
              </a:rPr>
              <a:t> in, </a:t>
            </a:r>
            <a:r>
              <a:rPr lang="de-DE" sz="1300" kern="0" dirty="0" err="1">
                <a:solidFill>
                  <a:schemeClr val="bg1"/>
                </a:solidFill>
              </a:rPr>
              <a:t>viverra</a:t>
            </a:r>
            <a:r>
              <a:rPr lang="de-DE" sz="1300" kern="0" dirty="0">
                <a:solidFill>
                  <a:schemeClr val="bg1"/>
                </a:solidFill>
              </a:rPr>
              <a:t> </a:t>
            </a:r>
            <a:r>
              <a:rPr lang="de-DE" sz="1300" kern="0" dirty="0" err="1">
                <a:solidFill>
                  <a:schemeClr val="bg1"/>
                </a:solidFill>
              </a:rPr>
              <a:t>quis</a:t>
            </a:r>
            <a:r>
              <a:rPr lang="de-DE" sz="1300" kern="0" dirty="0">
                <a:solidFill>
                  <a:schemeClr val="bg1"/>
                </a:solidFill>
              </a:rPr>
              <a:t>, </a:t>
            </a:r>
            <a:r>
              <a:rPr lang="de-DE" sz="1300" kern="0" dirty="0" err="1">
                <a:solidFill>
                  <a:schemeClr val="bg1"/>
                </a:solidFill>
              </a:rPr>
              <a:t>feugiat</a:t>
            </a:r>
            <a:r>
              <a:rPr lang="de-DE" sz="1300" kern="0" dirty="0">
                <a:solidFill>
                  <a:schemeClr val="bg1"/>
                </a:solidFill>
              </a:rPr>
              <a:t> a</a:t>
            </a:r>
          </a:p>
        </p:txBody>
      </p:sp>
    </p:spTree>
    <p:extLst>
      <p:ext uri="{BB962C8B-B14F-4D97-AF65-F5344CB8AC3E}">
        <p14:creationId xmlns:p14="http://schemas.microsoft.com/office/powerpoint/2010/main" val="226547839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24" y="1968722"/>
            <a:ext cx="5237769" cy="4139740"/>
          </a:xfrm>
          <a:prstGeom prst="rect">
            <a:avLst/>
          </a:prstGeom>
        </p:spPr>
      </p:pic>
      <p:sp>
        <p:nvSpPr>
          <p:cNvPr id="24" name="Rechteck 23"/>
          <p:cNvSpPr/>
          <p:nvPr/>
        </p:nvSpPr>
        <p:spPr>
          <a:xfrm>
            <a:off x="5159896" y="1968462"/>
            <a:ext cx="3384375" cy="4140000"/>
          </a:xfrm>
          <a:prstGeom prst="rect">
            <a:avLst/>
          </a:prstGeom>
          <a:gradFill>
            <a:gsLst>
              <a:gs pos="48000">
                <a:schemeClr val="accent6">
                  <a:lumMod val="40000"/>
                  <a:lumOff val="6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720001" y="2420888"/>
            <a:ext cx="2915897" cy="1256754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800"/>
              </a:spcAft>
            </a:pPr>
            <a:r>
              <a:rPr lang="de-DE" dirty="0" smtClean="0"/>
              <a:t>Die softe Kante ergibt sich durch ein zusätzliches Element </a:t>
            </a:r>
          </a:p>
          <a:p>
            <a:pPr>
              <a:spcAft>
                <a:spcPts val="800"/>
              </a:spcAft>
            </a:pPr>
            <a:r>
              <a:rPr lang="de-DE" dirty="0" smtClean="0"/>
              <a:t>Es ist mit der Hintergrundfarbe und einem zusätzlichen Farbverlauf gefüllt</a:t>
            </a:r>
          </a:p>
        </p:txBody>
      </p:sp>
    </p:spTree>
    <p:extLst>
      <p:ext uri="{BB962C8B-B14F-4D97-AF65-F5344CB8AC3E}">
        <p14:creationId xmlns:p14="http://schemas.microsoft.com/office/powerpoint/2010/main" val="290577542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5844005" y="2340000"/>
            <a:ext cx="3996023" cy="230832"/>
          </a:xfrm>
        </p:spPr>
        <p:txBody>
          <a:bodyPr/>
          <a:lstStyle/>
          <a:p>
            <a:r>
              <a:rPr lang="de-DE" dirty="0" smtClean="0"/>
              <a:t>Text</a:t>
            </a:r>
            <a:endParaRPr lang="de-DE" dirty="0"/>
          </a:p>
        </p:txBody>
      </p:sp>
      <p:pic>
        <p:nvPicPr>
          <p:cNvPr id="8" name="Bildplatzhalter 7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7" b="9237"/>
          <a:stretch>
            <a:fillRect/>
          </a:stretch>
        </p:blipFill>
        <p:spPr/>
      </p:pic>
      <p:pic>
        <p:nvPicPr>
          <p:cNvPr id="9" name="Bildplatzhalter 8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6" b="9146"/>
          <a:stretch>
            <a:fillRect/>
          </a:stretch>
        </p:blipFill>
        <p:spPr/>
      </p:pic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844005" y="4318497"/>
            <a:ext cx="3996023" cy="230832"/>
          </a:xfrm>
        </p:spPr>
        <p:txBody>
          <a:bodyPr/>
          <a:lstStyle/>
          <a:p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79458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664005" y="2160000"/>
            <a:ext cx="4431369" cy="230832"/>
          </a:xfrm>
        </p:spPr>
        <p:txBody>
          <a:bodyPr/>
          <a:lstStyle/>
          <a:p>
            <a:r>
              <a:rPr lang="de-DE" dirty="0"/>
              <a:t>Text</a:t>
            </a:r>
          </a:p>
        </p:txBody>
      </p:sp>
      <p:pic>
        <p:nvPicPr>
          <p:cNvPr id="14" name="Bildplatzhalter 13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3" b="9273"/>
          <a:stretch>
            <a:fillRect/>
          </a:stretch>
        </p:blipFill>
        <p:spPr/>
      </p:pic>
      <p:pic>
        <p:nvPicPr>
          <p:cNvPr id="15" name="Bildplatzhalter 14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6" b="9146"/>
          <a:stretch>
            <a:fillRect/>
          </a:stretch>
        </p:blipFill>
        <p:spPr/>
      </p:pic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5664005" y="4140000"/>
            <a:ext cx="4431369" cy="230832"/>
          </a:xfrm>
        </p:spPr>
        <p:txBody>
          <a:bodyPr/>
          <a:lstStyle/>
          <a:p>
            <a:r>
              <a:rPr lang="de-DE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23877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  <a:endParaRPr lang="de-DE" dirty="0"/>
          </a:p>
          <a:p>
            <a:r>
              <a:rPr lang="de-DE" dirty="0"/>
              <a:t>Titelvarianten </a:t>
            </a:r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b="1" dirty="0">
                <a:solidFill>
                  <a:schemeClr val="tx2"/>
                </a:solidFill>
              </a:rPr>
              <a:t>Zitate</a:t>
            </a:r>
            <a:endParaRPr lang="de-DE" b="1" dirty="0" smtClean="0">
              <a:solidFill>
                <a:schemeClr val="tx2"/>
              </a:solidFill>
            </a:endParaRPr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190821703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983432" y="2340000"/>
            <a:ext cx="10489235" cy="1154162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Auf dieser Seite stehen Zitate innerhalb einer Sprechblase, bitte passen Sie die Breite und Höhe dem Text an. Falls sich unschöne Umbrüche ergeben können Sie einen Trick anwenden: In den „Formoptionen“ &gt; „Größe und Eigenschaften“ nehmen Sie im Bereich „Textfeld“ den Haken in „Text in Form umbrechen“ raus. Anschließend müssen Sie manuelle Umbrüche einfügen. </a:t>
            </a:r>
            <a:endParaRPr lang="de-DE" dirty="0"/>
          </a:p>
        </p:txBody>
      </p:sp>
      <p:sp>
        <p:nvSpPr>
          <p:cNvPr id="11" name="Ovale Legende 10"/>
          <p:cNvSpPr/>
          <p:nvPr/>
        </p:nvSpPr>
        <p:spPr>
          <a:xfrm>
            <a:off x="5866568" y="4481420"/>
            <a:ext cx="1932790" cy="1294968"/>
          </a:xfrm>
          <a:prstGeom prst="wedgeEllipseCallout">
            <a:avLst>
              <a:gd name="adj1" fmla="val 30015"/>
              <a:gd name="adj2" fmla="val 62500"/>
            </a:avLst>
          </a:prstGeom>
          <a:solidFill>
            <a:schemeClr val="bg1"/>
          </a:solidFill>
          <a:ln w="5080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b="1" dirty="0">
                <a:solidFill>
                  <a:schemeClr val="tx1"/>
                </a:solidFill>
              </a:rPr>
              <a:t>Lorem ipsum dolor sit </a:t>
            </a:r>
            <a:r>
              <a:rPr lang="en-US" sz="1300" b="1" dirty="0" err="1">
                <a:solidFill>
                  <a:schemeClr val="tx1"/>
                </a:solidFill>
              </a:rPr>
              <a:t>amet</a:t>
            </a:r>
            <a:r>
              <a:rPr lang="en-US" sz="1300" b="1" dirty="0">
                <a:solidFill>
                  <a:schemeClr val="tx1"/>
                </a:solidFill>
              </a:rPr>
              <a:t>, </a:t>
            </a:r>
            <a:r>
              <a:rPr lang="en-US" sz="1300" b="1" dirty="0" err="1">
                <a:solidFill>
                  <a:schemeClr val="tx1"/>
                </a:solidFill>
              </a:rPr>
              <a:t>consectetuer</a:t>
            </a:r>
            <a:r>
              <a:rPr lang="en-US" sz="1300" b="1" dirty="0">
                <a:solidFill>
                  <a:schemeClr val="tx1"/>
                </a:solidFill>
              </a:rPr>
              <a:t> </a:t>
            </a:r>
            <a:r>
              <a:rPr lang="en-US" sz="1300" b="1" dirty="0" err="1">
                <a:solidFill>
                  <a:schemeClr val="tx1"/>
                </a:solidFill>
              </a:rPr>
              <a:t>adipiscing</a:t>
            </a:r>
            <a:r>
              <a:rPr lang="en-US" sz="1300" b="1" dirty="0">
                <a:solidFill>
                  <a:schemeClr val="tx1"/>
                </a:solidFill>
              </a:rPr>
              <a:t> </a:t>
            </a:r>
            <a:r>
              <a:rPr lang="en-US" sz="1300" b="1" dirty="0" err="1">
                <a:solidFill>
                  <a:schemeClr val="tx1"/>
                </a:solidFill>
              </a:rPr>
              <a:t>elit</a:t>
            </a:r>
            <a:r>
              <a:rPr lang="en-US" sz="1300" b="1" dirty="0">
                <a:solidFill>
                  <a:schemeClr val="tx1"/>
                </a:solidFill>
              </a:rPr>
              <a:t>.</a:t>
            </a:r>
            <a:endParaRPr lang="de-DE" sz="1300" b="1" dirty="0"/>
          </a:p>
        </p:txBody>
      </p:sp>
      <p:sp>
        <p:nvSpPr>
          <p:cNvPr id="13" name="Ovale Legende 12"/>
          <p:cNvSpPr/>
          <p:nvPr/>
        </p:nvSpPr>
        <p:spPr>
          <a:xfrm>
            <a:off x="7799358" y="3616736"/>
            <a:ext cx="1932790" cy="1294968"/>
          </a:xfrm>
          <a:prstGeom prst="wedgeEllipseCallout">
            <a:avLst/>
          </a:prstGeom>
          <a:solidFill>
            <a:schemeClr val="bg1"/>
          </a:solidFill>
          <a:ln w="5080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b="1" dirty="0">
                <a:solidFill>
                  <a:schemeClr val="tx1"/>
                </a:solidFill>
              </a:rPr>
              <a:t>Lorem ipsum dolor sit </a:t>
            </a:r>
            <a:r>
              <a:rPr lang="en-US" sz="1300" b="1" dirty="0" err="1">
                <a:solidFill>
                  <a:schemeClr val="tx1"/>
                </a:solidFill>
              </a:rPr>
              <a:t>amet</a:t>
            </a:r>
            <a:r>
              <a:rPr lang="en-US" sz="1300" b="1" dirty="0">
                <a:solidFill>
                  <a:schemeClr val="tx1"/>
                </a:solidFill>
              </a:rPr>
              <a:t>, </a:t>
            </a:r>
            <a:r>
              <a:rPr lang="en-US" sz="1300" b="1" dirty="0" err="1">
                <a:solidFill>
                  <a:schemeClr val="tx1"/>
                </a:solidFill>
              </a:rPr>
              <a:t>consectetuer</a:t>
            </a:r>
            <a:r>
              <a:rPr lang="en-US" sz="1300" b="1" dirty="0">
                <a:solidFill>
                  <a:schemeClr val="tx1"/>
                </a:solidFill>
              </a:rPr>
              <a:t> </a:t>
            </a:r>
            <a:r>
              <a:rPr lang="en-US" sz="1300" b="1" dirty="0" err="1">
                <a:solidFill>
                  <a:schemeClr val="tx1"/>
                </a:solidFill>
              </a:rPr>
              <a:t>adipiscing</a:t>
            </a:r>
            <a:r>
              <a:rPr lang="en-US" sz="1300" b="1" dirty="0">
                <a:solidFill>
                  <a:schemeClr val="tx1"/>
                </a:solidFill>
              </a:rPr>
              <a:t> </a:t>
            </a:r>
            <a:r>
              <a:rPr lang="en-US" sz="1300" b="1" dirty="0" err="1">
                <a:solidFill>
                  <a:schemeClr val="tx1"/>
                </a:solidFill>
              </a:rPr>
              <a:t>elit</a:t>
            </a:r>
            <a:r>
              <a:rPr lang="en-US" sz="1300" b="1" dirty="0">
                <a:solidFill>
                  <a:schemeClr val="tx1"/>
                </a:solidFill>
              </a:rPr>
              <a:t>.</a:t>
            </a:r>
            <a:endParaRPr lang="de-DE" sz="1300" b="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8695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 txBox="1">
            <a:spLocks/>
          </p:cNvSpPr>
          <p:nvPr/>
        </p:nvSpPr>
        <p:spPr>
          <a:xfrm>
            <a:off x="5591944" y="4581128"/>
            <a:ext cx="3996442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49263" indent="-2714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269875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68400" indent="-2714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dapibus</a:t>
            </a:r>
            <a:r>
              <a:rPr lang="de-DE" dirty="0"/>
              <a:t>.</a:t>
            </a:r>
            <a:endParaRPr lang="de-DE" sz="1200" dirty="0"/>
          </a:p>
          <a:p>
            <a:pPr marL="0" indent="0" algn="r">
              <a:buNone/>
            </a:pPr>
            <a:r>
              <a:rPr lang="de-DE" sz="1200" dirty="0"/>
              <a:t>Name Vorname, ggf. Firma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39024" t="52724" r="39024" b="31289"/>
          <a:stretch/>
        </p:blipFill>
        <p:spPr>
          <a:xfrm>
            <a:off x="4943872" y="4492599"/>
            <a:ext cx="648072" cy="64807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65297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>
          <a:solidFill>
            <a:schemeClr val="bg1"/>
          </a:solidFill>
        </p:spPr>
      </p:sp>
      <p:sp>
        <p:nvSpPr>
          <p:cNvPr id="3" name="Textfeld 2"/>
          <p:cNvSpPr txBox="1"/>
          <p:nvPr/>
        </p:nvSpPr>
        <p:spPr>
          <a:xfrm>
            <a:off x="2063750" y="2492901"/>
            <a:ext cx="8100250" cy="132343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de-DE" sz="2500" dirty="0"/>
              <a:t>„Hier steht ein Zitat. </a:t>
            </a:r>
            <a:r>
              <a:rPr lang="de-DE" sz="2500" b="1" dirty="0"/>
              <a:t>Wichtige Wörter </a:t>
            </a:r>
            <a:r>
              <a:rPr lang="de-DE" sz="2500" dirty="0"/>
              <a:t>können gefettet werden. Je kürzer das Zitat, desto </a:t>
            </a:r>
            <a:r>
              <a:rPr lang="de-DE" sz="2500" b="1" dirty="0"/>
              <a:t>einprägsamer</a:t>
            </a:r>
            <a:r>
              <a:rPr lang="de-DE" sz="2500" dirty="0"/>
              <a:t>.“</a:t>
            </a:r>
          </a:p>
          <a:p>
            <a:pPr algn="ctr"/>
            <a:endParaRPr lang="de-DE" sz="1500" dirty="0"/>
          </a:p>
          <a:p>
            <a:pPr algn="ctr"/>
            <a:r>
              <a:rPr lang="de-DE" sz="1500" dirty="0"/>
              <a:t>– Vorname Nachname, ggf. Firma</a:t>
            </a:r>
          </a:p>
        </p:txBody>
      </p:sp>
      <p:pic>
        <p:nvPicPr>
          <p:cNvPr id="5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1434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Ovale Legende 7"/>
          <p:cNvSpPr/>
          <p:nvPr/>
        </p:nvSpPr>
        <p:spPr>
          <a:xfrm>
            <a:off x="7888739" y="1224137"/>
            <a:ext cx="2340000" cy="2130630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92500" lnSpcReduction="20000"/>
          </a:bodyPr>
          <a:lstStyle/>
          <a:p>
            <a:pPr algn="ctr">
              <a:lnSpc>
                <a:spcPct val="120000"/>
              </a:lnSpc>
            </a:pPr>
            <a:r>
              <a:rPr lang="de-DE" sz="2000" b="1" dirty="0" err="1"/>
              <a:t>Donec</a:t>
            </a:r>
            <a:r>
              <a:rPr lang="de-DE" sz="2000" b="1" dirty="0"/>
              <a:t> </a:t>
            </a:r>
            <a:r>
              <a:rPr lang="de-DE" sz="2000" b="1" dirty="0" err="1"/>
              <a:t>pede</a:t>
            </a:r>
            <a:r>
              <a:rPr lang="de-DE" sz="2000" b="1" dirty="0"/>
              <a:t> </a:t>
            </a:r>
            <a:r>
              <a:rPr lang="de-DE" sz="2000" b="1" dirty="0" err="1"/>
              <a:t>justo</a:t>
            </a:r>
            <a:r>
              <a:rPr lang="de-DE" sz="2000" b="1" dirty="0"/>
              <a:t>, </a:t>
            </a:r>
            <a:r>
              <a:rPr lang="de-DE" sz="2000" b="1" dirty="0" err="1"/>
              <a:t>fringilla</a:t>
            </a:r>
            <a:r>
              <a:rPr lang="de-DE" sz="2000" b="1" dirty="0"/>
              <a:t> </a:t>
            </a:r>
            <a:r>
              <a:rPr lang="de-DE" sz="2000" b="1" dirty="0" err="1"/>
              <a:t>vel</a:t>
            </a:r>
            <a:r>
              <a:rPr lang="de-DE" sz="2000" b="1" dirty="0"/>
              <a:t>, </a:t>
            </a:r>
            <a:r>
              <a:rPr lang="de-DE" sz="2000" b="1" dirty="0" err="1"/>
              <a:t>aliquet</a:t>
            </a:r>
            <a:r>
              <a:rPr lang="de-DE" sz="2000" b="1" dirty="0"/>
              <a:t> </a:t>
            </a:r>
            <a:r>
              <a:rPr lang="de-DE" sz="2000" b="1" dirty="0" err="1"/>
              <a:t>nec</a:t>
            </a:r>
            <a:r>
              <a:rPr lang="de-DE" sz="2000" b="1" dirty="0"/>
              <a:t>, </a:t>
            </a:r>
            <a:r>
              <a:rPr lang="de-DE" sz="2000" b="1" dirty="0" err="1"/>
              <a:t>vulputate</a:t>
            </a:r>
            <a:r>
              <a:rPr lang="de-DE" sz="2000" b="1" dirty="0"/>
              <a:t> </a:t>
            </a:r>
            <a:r>
              <a:rPr lang="de-DE" sz="2000" b="1" dirty="0" err="1"/>
              <a:t>eget</a:t>
            </a:r>
            <a:r>
              <a:rPr lang="de-DE" sz="2000" b="1" dirty="0"/>
              <a:t>, </a:t>
            </a:r>
            <a:r>
              <a:rPr lang="de-DE" sz="2000" b="1" dirty="0" err="1"/>
              <a:t>arcu</a:t>
            </a:r>
            <a:endParaRPr lang="de-DE" sz="2500" b="1" dirty="0"/>
          </a:p>
        </p:txBody>
      </p:sp>
      <p:sp>
        <p:nvSpPr>
          <p:cNvPr id="9" name="Ovale Legende 8"/>
          <p:cNvSpPr/>
          <p:nvPr/>
        </p:nvSpPr>
        <p:spPr>
          <a:xfrm>
            <a:off x="4983940" y="404664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0" name="Ovale Legende 9"/>
          <p:cNvSpPr/>
          <p:nvPr/>
        </p:nvSpPr>
        <p:spPr>
          <a:xfrm>
            <a:off x="2323880" y="936421"/>
            <a:ext cx="2520000" cy="2294524"/>
          </a:xfrm>
          <a:prstGeom prst="wedgeEllipseCallout">
            <a:avLst>
              <a:gd name="adj1" fmla="val 32688"/>
              <a:gd name="adj2" fmla="val 58515"/>
            </a:avLst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70000" lnSpcReduction="20000"/>
          </a:bodyPr>
          <a:lstStyle/>
          <a:p>
            <a:pPr algn="ctr">
              <a:lnSpc>
                <a:spcPct val="110000"/>
              </a:lnSpc>
            </a:pPr>
            <a:r>
              <a:rPr lang="de-DE" sz="2800" b="1" dirty="0" err="1"/>
              <a:t>Donec</a:t>
            </a:r>
            <a:r>
              <a:rPr lang="de-DE" sz="2800" b="1" dirty="0"/>
              <a:t> </a:t>
            </a:r>
            <a:r>
              <a:rPr lang="de-DE" sz="2800" b="1" dirty="0" err="1"/>
              <a:t>pede</a:t>
            </a:r>
            <a:r>
              <a:rPr lang="de-DE" sz="2800" b="1" dirty="0"/>
              <a:t> </a:t>
            </a:r>
            <a:r>
              <a:rPr lang="de-DE" sz="2800" b="1" dirty="0" err="1"/>
              <a:t>justo</a:t>
            </a:r>
            <a:r>
              <a:rPr lang="de-DE" sz="2800" b="1" dirty="0"/>
              <a:t>, </a:t>
            </a:r>
            <a:r>
              <a:rPr lang="de-DE" sz="2800" b="1" dirty="0" err="1"/>
              <a:t>fringilla</a:t>
            </a:r>
            <a:r>
              <a:rPr lang="de-DE" sz="2800" b="1" dirty="0"/>
              <a:t> </a:t>
            </a:r>
            <a:r>
              <a:rPr lang="de-DE" sz="2800" b="1" dirty="0" err="1"/>
              <a:t>vel</a:t>
            </a:r>
            <a:r>
              <a:rPr lang="de-DE" sz="2800" b="1" dirty="0"/>
              <a:t>, </a:t>
            </a:r>
            <a:r>
              <a:rPr lang="de-DE" sz="2800" b="1" dirty="0" err="1"/>
              <a:t>aliquet</a:t>
            </a:r>
            <a:r>
              <a:rPr lang="de-DE" sz="2800" b="1" dirty="0"/>
              <a:t> </a:t>
            </a:r>
            <a:r>
              <a:rPr lang="de-DE" sz="2800" b="1" dirty="0" err="1"/>
              <a:t>nec</a:t>
            </a:r>
            <a:r>
              <a:rPr lang="de-DE" sz="2800" b="1" dirty="0"/>
              <a:t>, </a:t>
            </a:r>
            <a:r>
              <a:rPr lang="de-DE" sz="2800" b="1" dirty="0" err="1"/>
              <a:t>vulputate</a:t>
            </a:r>
            <a:r>
              <a:rPr lang="de-DE" sz="2800" b="1" dirty="0"/>
              <a:t> </a:t>
            </a:r>
            <a:r>
              <a:rPr lang="de-DE" sz="2800" b="1" dirty="0" err="1"/>
              <a:t>eget</a:t>
            </a:r>
            <a:r>
              <a:rPr lang="de-DE" sz="2800" b="1" dirty="0"/>
              <a:t>, </a:t>
            </a:r>
            <a:r>
              <a:rPr lang="de-DE" sz="2800" b="1" dirty="0" err="1"/>
              <a:t>arcu</a:t>
            </a:r>
            <a:endParaRPr lang="de-DE" sz="2500" b="1" dirty="0"/>
          </a:p>
        </p:txBody>
      </p:sp>
      <p:sp>
        <p:nvSpPr>
          <p:cNvPr id="12" name="Ovale Legende 11"/>
          <p:cNvSpPr/>
          <p:nvPr/>
        </p:nvSpPr>
        <p:spPr>
          <a:xfrm>
            <a:off x="4602568" y="4700704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4" name="Ovale Legende 13"/>
          <p:cNvSpPr/>
          <p:nvPr/>
        </p:nvSpPr>
        <p:spPr>
          <a:xfrm>
            <a:off x="7679453" y="4257535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5" name="Ovale Legende 14"/>
          <p:cNvSpPr/>
          <p:nvPr/>
        </p:nvSpPr>
        <p:spPr>
          <a:xfrm>
            <a:off x="5395328" y="2448279"/>
            <a:ext cx="2160000" cy="1966735"/>
          </a:xfrm>
          <a:prstGeom prst="wedgeEllipseCallout">
            <a:avLst>
              <a:gd name="adj1" fmla="val 28379"/>
              <a:gd name="adj2" fmla="val 67149"/>
            </a:avLst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8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de-DE" sz="2000" b="1" dirty="0" err="1"/>
              <a:t>Donec</a:t>
            </a:r>
            <a:r>
              <a:rPr lang="de-DE" sz="2000" b="1" dirty="0"/>
              <a:t> </a:t>
            </a:r>
            <a:r>
              <a:rPr lang="de-DE" sz="2000" b="1" dirty="0" err="1"/>
              <a:t>pede</a:t>
            </a:r>
            <a:r>
              <a:rPr lang="de-DE" sz="2000" b="1" dirty="0"/>
              <a:t> </a:t>
            </a:r>
            <a:r>
              <a:rPr lang="de-DE" sz="2000" b="1" dirty="0" err="1"/>
              <a:t>justo</a:t>
            </a:r>
            <a:r>
              <a:rPr lang="de-DE" sz="2000" b="1" dirty="0"/>
              <a:t>, </a:t>
            </a:r>
            <a:r>
              <a:rPr lang="de-DE" sz="2000" b="1" dirty="0" err="1"/>
              <a:t>fringilla</a:t>
            </a:r>
            <a:r>
              <a:rPr lang="de-DE" sz="2000" b="1" dirty="0"/>
              <a:t> </a:t>
            </a:r>
            <a:r>
              <a:rPr lang="de-DE" sz="2000" b="1" dirty="0" err="1"/>
              <a:t>vel</a:t>
            </a:r>
            <a:r>
              <a:rPr lang="de-DE" sz="2000" b="1" dirty="0"/>
              <a:t>, </a:t>
            </a:r>
            <a:r>
              <a:rPr lang="de-DE" sz="2000" b="1" dirty="0" err="1"/>
              <a:t>aliquet</a:t>
            </a:r>
            <a:r>
              <a:rPr lang="de-DE" sz="2000" b="1" dirty="0"/>
              <a:t> </a:t>
            </a:r>
            <a:r>
              <a:rPr lang="de-DE" sz="2000" b="1" dirty="0" err="1"/>
              <a:t>nec</a:t>
            </a:r>
            <a:r>
              <a:rPr lang="de-DE" sz="2000" b="1" dirty="0"/>
              <a:t>, </a:t>
            </a:r>
            <a:r>
              <a:rPr lang="de-DE" sz="2000" b="1" dirty="0" err="1"/>
              <a:t>vulputate</a:t>
            </a:r>
            <a:r>
              <a:rPr lang="de-DE" sz="2000" b="1" dirty="0"/>
              <a:t> </a:t>
            </a:r>
            <a:r>
              <a:rPr lang="de-DE" sz="2000" b="1" dirty="0" err="1"/>
              <a:t>eget</a:t>
            </a:r>
            <a:r>
              <a:rPr lang="de-DE" sz="2000" b="1" dirty="0"/>
              <a:t>, </a:t>
            </a:r>
            <a:r>
              <a:rPr lang="de-DE" sz="2000" b="1" dirty="0" err="1"/>
              <a:t>arcu</a:t>
            </a:r>
            <a:endParaRPr lang="de-DE" sz="2500" b="1" dirty="0"/>
          </a:p>
        </p:txBody>
      </p:sp>
      <p:sp>
        <p:nvSpPr>
          <p:cNvPr id="16" name="Textfeld 15"/>
          <p:cNvSpPr txBox="1"/>
          <p:nvPr/>
        </p:nvSpPr>
        <p:spPr>
          <a:xfrm>
            <a:off x="2063750" y="4038211"/>
            <a:ext cx="1980000" cy="1802841"/>
          </a:xfrm>
          <a:prstGeom prst="wedgeEllipseCallout">
            <a:avLst>
              <a:gd name="adj1" fmla="val 32276"/>
              <a:gd name="adj2" fmla="val 58696"/>
            </a:avLst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rmAutofit fontScale="92500" lnSpcReduction="10000"/>
          </a:bodyPr>
          <a:lstStyle/>
          <a:p>
            <a:pPr algn="ctr">
              <a:lnSpc>
                <a:spcPct val="120000"/>
              </a:lnSpc>
            </a:pPr>
            <a:r>
              <a:rPr lang="de-DE" sz="1600" b="1" dirty="0" err="1"/>
              <a:t>Donec</a:t>
            </a:r>
            <a:r>
              <a:rPr lang="de-DE" sz="1600" b="1" dirty="0"/>
              <a:t> </a:t>
            </a:r>
            <a:r>
              <a:rPr lang="de-DE" sz="1600" b="1" dirty="0" err="1"/>
              <a:t>pede</a:t>
            </a:r>
            <a:r>
              <a:rPr lang="de-DE" sz="1600" b="1" dirty="0"/>
              <a:t> </a:t>
            </a:r>
            <a:r>
              <a:rPr lang="de-DE" sz="1600" b="1" dirty="0" err="1"/>
              <a:t>justo</a:t>
            </a:r>
            <a:r>
              <a:rPr lang="de-DE" sz="1600" b="1" dirty="0"/>
              <a:t>, </a:t>
            </a:r>
            <a:r>
              <a:rPr lang="de-DE" sz="1600" b="1" dirty="0" err="1"/>
              <a:t>fringilla</a:t>
            </a:r>
            <a:r>
              <a:rPr lang="de-DE" sz="1600" b="1" dirty="0"/>
              <a:t> </a:t>
            </a:r>
            <a:r>
              <a:rPr lang="de-DE" sz="1600" b="1" dirty="0" err="1"/>
              <a:t>vel</a:t>
            </a:r>
            <a:r>
              <a:rPr lang="de-DE" sz="1600" b="1" dirty="0"/>
              <a:t>, </a:t>
            </a:r>
            <a:r>
              <a:rPr lang="de-DE" sz="1600" b="1" dirty="0" err="1"/>
              <a:t>aliquet</a:t>
            </a:r>
            <a:r>
              <a:rPr lang="de-DE" sz="1600" b="1" dirty="0"/>
              <a:t> </a:t>
            </a:r>
            <a:r>
              <a:rPr lang="de-DE" sz="1600" b="1" dirty="0" err="1"/>
              <a:t>nec</a:t>
            </a:r>
            <a:r>
              <a:rPr lang="de-DE" sz="1600" b="1" dirty="0"/>
              <a:t>, </a:t>
            </a:r>
            <a:r>
              <a:rPr lang="de-DE" sz="1600" b="1" dirty="0" err="1"/>
              <a:t>vulputate</a:t>
            </a:r>
            <a:r>
              <a:rPr lang="de-DE" sz="1600" b="1" dirty="0"/>
              <a:t> </a:t>
            </a:r>
            <a:r>
              <a:rPr lang="de-DE" sz="1600" b="1" dirty="0" err="1"/>
              <a:t>eget</a:t>
            </a:r>
            <a:r>
              <a:rPr lang="de-DE" sz="1600" b="1" dirty="0"/>
              <a:t>, </a:t>
            </a:r>
            <a:r>
              <a:rPr lang="de-DE" sz="1600" b="1" dirty="0" err="1"/>
              <a:t>arcu</a:t>
            </a:r>
            <a:endParaRPr lang="de-DE" sz="2500" b="1" dirty="0"/>
          </a:p>
        </p:txBody>
      </p:sp>
      <p:pic>
        <p:nvPicPr>
          <p:cNvPr id="11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3316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>
          <a:solidFill>
            <a:schemeClr val="tx2"/>
          </a:solidFill>
        </p:spPr>
      </p:sp>
      <p:sp>
        <p:nvSpPr>
          <p:cNvPr id="8" name="Ovale Legende 7"/>
          <p:cNvSpPr/>
          <p:nvPr/>
        </p:nvSpPr>
        <p:spPr>
          <a:xfrm>
            <a:off x="7888739" y="1224137"/>
            <a:ext cx="2340000" cy="2130630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92500" lnSpcReduction="20000"/>
          </a:bodyPr>
          <a:lstStyle/>
          <a:p>
            <a:pPr algn="ctr">
              <a:lnSpc>
                <a:spcPct val="120000"/>
              </a:lnSpc>
            </a:pPr>
            <a:r>
              <a:rPr lang="de-DE" sz="2000" b="1" dirty="0" err="1"/>
              <a:t>Donec</a:t>
            </a:r>
            <a:r>
              <a:rPr lang="de-DE" sz="2000" b="1" dirty="0"/>
              <a:t> </a:t>
            </a:r>
            <a:r>
              <a:rPr lang="de-DE" sz="2000" b="1" dirty="0" err="1"/>
              <a:t>pede</a:t>
            </a:r>
            <a:r>
              <a:rPr lang="de-DE" sz="2000" b="1" dirty="0"/>
              <a:t> </a:t>
            </a:r>
            <a:r>
              <a:rPr lang="de-DE" sz="2000" b="1" dirty="0" err="1"/>
              <a:t>justo</a:t>
            </a:r>
            <a:r>
              <a:rPr lang="de-DE" sz="2000" b="1" dirty="0"/>
              <a:t>, </a:t>
            </a:r>
            <a:r>
              <a:rPr lang="de-DE" sz="2000" b="1" dirty="0" err="1"/>
              <a:t>fringilla</a:t>
            </a:r>
            <a:r>
              <a:rPr lang="de-DE" sz="2000" b="1" dirty="0"/>
              <a:t> </a:t>
            </a:r>
            <a:r>
              <a:rPr lang="de-DE" sz="2000" b="1" dirty="0" err="1"/>
              <a:t>vel</a:t>
            </a:r>
            <a:r>
              <a:rPr lang="de-DE" sz="2000" b="1" dirty="0"/>
              <a:t>, </a:t>
            </a:r>
            <a:r>
              <a:rPr lang="de-DE" sz="2000" b="1" dirty="0" err="1"/>
              <a:t>aliquet</a:t>
            </a:r>
            <a:r>
              <a:rPr lang="de-DE" sz="2000" b="1" dirty="0"/>
              <a:t> </a:t>
            </a:r>
            <a:r>
              <a:rPr lang="de-DE" sz="2000" b="1" dirty="0" err="1"/>
              <a:t>nec</a:t>
            </a:r>
            <a:r>
              <a:rPr lang="de-DE" sz="2000" b="1" dirty="0"/>
              <a:t>, </a:t>
            </a:r>
            <a:r>
              <a:rPr lang="de-DE" sz="2000" b="1" dirty="0" err="1"/>
              <a:t>vulputate</a:t>
            </a:r>
            <a:r>
              <a:rPr lang="de-DE" sz="2000" b="1" dirty="0"/>
              <a:t> </a:t>
            </a:r>
            <a:r>
              <a:rPr lang="de-DE" sz="2000" b="1" dirty="0" err="1"/>
              <a:t>eget</a:t>
            </a:r>
            <a:r>
              <a:rPr lang="de-DE" sz="2000" b="1" dirty="0"/>
              <a:t>, </a:t>
            </a:r>
            <a:r>
              <a:rPr lang="de-DE" sz="2000" b="1" dirty="0" err="1"/>
              <a:t>arcu</a:t>
            </a:r>
            <a:endParaRPr lang="de-DE" sz="2500" b="1" dirty="0"/>
          </a:p>
        </p:txBody>
      </p:sp>
      <p:sp>
        <p:nvSpPr>
          <p:cNvPr id="9" name="Ovale Legende 8"/>
          <p:cNvSpPr/>
          <p:nvPr/>
        </p:nvSpPr>
        <p:spPr>
          <a:xfrm>
            <a:off x="4983940" y="404664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0" name="Ovale Legende 9"/>
          <p:cNvSpPr/>
          <p:nvPr/>
        </p:nvSpPr>
        <p:spPr>
          <a:xfrm>
            <a:off x="2323880" y="936421"/>
            <a:ext cx="2520000" cy="2294524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70000" lnSpcReduction="20000"/>
          </a:bodyPr>
          <a:lstStyle/>
          <a:p>
            <a:pPr algn="ctr">
              <a:lnSpc>
                <a:spcPct val="110000"/>
              </a:lnSpc>
            </a:pPr>
            <a:r>
              <a:rPr lang="de-DE" sz="2800" b="1" dirty="0" err="1"/>
              <a:t>Donec</a:t>
            </a:r>
            <a:r>
              <a:rPr lang="de-DE" sz="2800" b="1" dirty="0"/>
              <a:t> </a:t>
            </a:r>
            <a:r>
              <a:rPr lang="de-DE" sz="2800" b="1" dirty="0" err="1"/>
              <a:t>pede</a:t>
            </a:r>
            <a:r>
              <a:rPr lang="de-DE" sz="2800" b="1" dirty="0"/>
              <a:t> </a:t>
            </a:r>
            <a:r>
              <a:rPr lang="de-DE" sz="2800" b="1" dirty="0" err="1"/>
              <a:t>justo</a:t>
            </a:r>
            <a:r>
              <a:rPr lang="de-DE" sz="2800" b="1" dirty="0"/>
              <a:t>, </a:t>
            </a:r>
            <a:r>
              <a:rPr lang="de-DE" sz="2800" b="1" dirty="0" err="1"/>
              <a:t>fringilla</a:t>
            </a:r>
            <a:r>
              <a:rPr lang="de-DE" sz="2800" b="1" dirty="0"/>
              <a:t> </a:t>
            </a:r>
            <a:r>
              <a:rPr lang="de-DE" sz="2800" b="1" dirty="0" err="1"/>
              <a:t>vel</a:t>
            </a:r>
            <a:r>
              <a:rPr lang="de-DE" sz="2800" b="1" dirty="0"/>
              <a:t>, </a:t>
            </a:r>
            <a:r>
              <a:rPr lang="de-DE" sz="2800" b="1" dirty="0" err="1"/>
              <a:t>aliquet</a:t>
            </a:r>
            <a:r>
              <a:rPr lang="de-DE" sz="2800" b="1" dirty="0"/>
              <a:t> </a:t>
            </a:r>
            <a:r>
              <a:rPr lang="de-DE" sz="2800" b="1" dirty="0" err="1"/>
              <a:t>nec</a:t>
            </a:r>
            <a:r>
              <a:rPr lang="de-DE" sz="2800" b="1" dirty="0"/>
              <a:t>, </a:t>
            </a:r>
            <a:r>
              <a:rPr lang="de-DE" sz="2800" b="1" dirty="0" err="1"/>
              <a:t>vulputate</a:t>
            </a:r>
            <a:r>
              <a:rPr lang="de-DE" sz="2800" b="1" dirty="0"/>
              <a:t> </a:t>
            </a:r>
            <a:r>
              <a:rPr lang="de-DE" sz="2800" b="1" dirty="0" err="1"/>
              <a:t>eget</a:t>
            </a:r>
            <a:r>
              <a:rPr lang="de-DE" sz="2800" b="1" dirty="0"/>
              <a:t>, </a:t>
            </a:r>
            <a:r>
              <a:rPr lang="de-DE" sz="2800" b="1" dirty="0" err="1"/>
              <a:t>arcu</a:t>
            </a:r>
            <a:endParaRPr lang="de-DE" sz="2500" b="1" dirty="0"/>
          </a:p>
        </p:txBody>
      </p:sp>
      <p:sp>
        <p:nvSpPr>
          <p:cNvPr id="12" name="Ovale Legende 11"/>
          <p:cNvSpPr/>
          <p:nvPr/>
        </p:nvSpPr>
        <p:spPr>
          <a:xfrm>
            <a:off x="4602568" y="4700704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4" name="Ovale Legende 13"/>
          <p:cNvSpPr/>
          <p:nvPr/>
        </p:nvSpPr>
        <p:spPr>
          <a:xfrm>
            <a:off x="7679453" y="4257535"/>
            <a:ext cx="1800000" cy="1638946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de-DE" sz="1200" b="1" dirty="0" err="1"/>
              <a:t>Donec</a:t>
            </a:r>
            <a:r>
              <a:rPr lang="de-DE" sz="1200" b="1" dirty="0"/>
              <a:t> </a:t>
            </a:r>
            <a:r>
              <a:rPr lang="de-DE" sz="1200" b="1" dirty="0" err="1"/>
              <a:t>pede</a:t>
            </a:r>
            <a:r>
              <a:rPr lang="de-DE" sz="1200" b="1" dirty="0"/>
              <a:t> </a:t>
            </a:r>
            <a:r>
              <a:rPr lang="de-DE" sz="1200" b="1" dirty="0" err="1"/>
              <a:t>justo</a:t>
            </a:r>
            <a:r>
              <a:rPr lang="de-DE" sz="1200" b="1" dirty="0"/>
              <a:t>, </a:t>
            </a:r>
            <a:r>
              <a:rPr lang="de-DE" sz="1200" b="1" dirty="0" err="1"/>
              <a:t>fringilla</a:t>
            </a:r>
            <a:r>
              <a:rPr lang="de-DE" sz="1200" b="1" dirty="0"/>
              <a:t> </a:t>
            </a:r>
            <a:r>
              <a:rPr lang="de-DE" sz="1200" b="1" dirty="0" err="1"/>
              <a:t>vel</a:t>
            </a:r>
            <a:r>
              <a:rPr lang="de-DE" sz="1200" b="1" dirty="0"/>
              <a:t>, </a:t>
            </a:r>
            <a:r>
              <a:rPr lang="de-DE" sz="1200" b="1" dirty="0" err="1"/>
              <a:t>aliquet</a:t>
            </a:r>
            <a:r>
              <a:rPr lang="de-DE" sz="1200" b="1" dirty="0"/>
              <a:t> </a:t>
            </a:r>
            <a:r>
              <a:rPr lang="de-DE" sz="1200" b="1" dirty="0" err="1"/>
              <a:t>nec</a:t>
            </a:r>
            <a:r>
              <a:rPr lang="de-DE" sz="1200" b="1" dirty="0"/>
              <a:t>, </a:t>
            </a:r>
            <a:r>
              <a:rPr lang="de-DE" sz="1200" b="1" dirty="0" err="1"/>
              <a:t>vulputate</a:t>
            </a:r>
            <a:r>
              <a:rPr lang="de-DE" sz="1200" b="1" dirty="0"/>
              <a:t> </a:t>
            </a:r>
            <a:r>
              <a:rPr lang="de-DE" sz="1200" b="1" dirty="0" err="1"/>
              <a:t>eget</a:t>
            </a:r>
            <a:r>
              <a:rPr lang="de-DE" sz="1200" b="1" dirty="0"/>
              <a:t>, </a:t>
            </a:r>
            <a:r>
              <a:rPr lang="de-DE" sz="1200" b="1" dirty="0" err="1"/>
              <a:t>arcu</a:t>
            </a:r>
            <a:endParaRPr lang="de-DE" sz="2500" b="1" dirty="0"/>
          </a:p>
        </p:txBody>
      </p:sp>
      <p:sp>
        <p:nvSpPr>
          <p:cNvPr id="15" name="Ovale Legende 14"/>
          <p:cNvSpPr/>
          <p:nvPr/>
        </p:nvSpPr>
        <p:spPr>
          <a:xfrm>
            <a:off x="5395328" y="2448279"/>
            <a:ext cx="2160000" cy="1966735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0">
            <a:normAutofit fontScale="8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de-DE" sz="2000" b="1" dirty="0" err="1"/>
              <a:t>Donec</a:t>
            </a:r>
            <a:r>
              <a:rPr lang="de-DE" sz="2000" b="1" dirty="0"/>
              <a:t> </a:t>
            </a:r>
            <a:r>
              <a:rPr lang="de-DE" sz="2000" b="1" dirty="0" err="1"/>
              <a:t>pede</a:t>
            </a:r>
            <a:r>
              <a:rPr lang="de-DE" sz="2000" b="1" dirty="0"/>
              <a:t> </a:t>
            </a:r>
            <a:r>
              <a:rPr lang="de-DE" sz="2000" b="1" dirty="0" err="1"/>
              <a:t>justo</a:t>
            </a:r>
            <a:r>
              <a:rPr lang="de-DE" sz="2000" b="1" dirty="0"/>
              <a:t>, </a:t>
            </a:r>
            <a:r>
              <a:rPr lang="de-DE" sz="2000" b="1" dirty="0" err="1"/>
              <a:t>fringilla</a:t>
            </a:r>
            <a:r>
              <a:rPr lang="de-DE" sz="2000" b="1" dirty="0"/>
              <a:t> </a:t>
            </a:r>
            <a:r>
              <a:rPr lang="de-DE" sz="2000" b="1" dirty="0" err="1"/>
              <a:t>vel</a:t>
            </a:r>
            <a:r>
              <a:rPr lang="de-DE" sz="2000" b="1" dirty="0"/>
              <a:t>, </a:t>
            </a:r>
            <a:r>
              <a:rPr lang="de-DE" sz="2000" b="1" dirty="0" err="1"/>
              <a:t>aliquet</a:t>
            </a:r>
            <a:r>
              <a:rPr lang="de-DE" sz="2000" b="1" dirty="0"/>
              <a:t> </a:t>
            </a:r>
            <a:r>
              <a:rPr lang="de-DE" sz="2000" b="1" dirty="0" err="1"/>
              <a:t>nec</a:t>
            </a:r>
            <a:r>
              <a:rPr lang="de-DE" sz="2000" b="1" dirty="0"/>
              <a:t>, </a:t>
            </a:r>
            <a:r>
              <a:rPr lang="de-DE" sz="2000" b="1" dirty="0" err="1"/>
              <a:t>vulputate</a:t>
            </a:r>
            <a:r>
              <a:rPr lang="de-DE" sz="2000" b="1" dirty="0"/>
              <a:t> </a:t>
            </a:r>
            <a:r>
              <a:rPr lang="de-DE" sz="2000" b="1" dirty="0" err="1"/>
              <a:t>eget</a:t>
            </a:r>
            <a:r>
              <a:rPr lang="de-DE" sz="2000" b="1" dirty="0"/>
              <a:t>, </a:t>
            </a:r>
            <a:r>
              <a:rPr lang="de-DE" sz="2000" b="1" dirty="0" err="1"/>
              <a:t>arcu</a:t>
            </a:r>
            <a:endParaRPr lang="de-DE" sz="2500" b="1" dirty="0"/>
          </a:p>
        </p:txBody>
      </p:sp>
      <p:sp>
        <p:nvSpPr>
          <p:cNvPr id="16" name="Textfeld 15"/>
          <p:cNvSpPr txBox="1"/>
          <p:nvPr/>
        </p:nvSpPr>
        <p:spPr>
          <a:xfrm>
            <a:off x="2063750" y="4038211"/>
            <a:ext cx="1980000" cy="1802841"/>
          </a:xfrm>
          <a:prstGeom prst="wedgeEllipseCallou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rmAutofit fontScale="92500" lnSpcReduction="10000"/>
          </a:bodyPr>
          <a:lstStyle/>
          <a:p>
            <a:pPr algn="ctr">
              <a:lnSpc>
                <a:spcPct val="120000"/>
              </a:lnSpc>
            </a:pPr>
            <a:r>
              <a:rPr lang="de-DE" sz="1600" b="1" dirty="0" err="1"/>
              <a:t>Donec</a:t>
            </a:r>
            <a:r>
              <a:rPr lang="de-DE" sz="1600" b="1" dirty="0"/>
              <a:t> </a:t>
            </a:r>
            <a:r>
              <a:rPr lang="de-DE" sz="1600" b="1" dirty="0" err="1"/>
              <a:t>pede</a:t>
            </a:r>
            <a:r>
              <a:rPr lang="de-DE" sz="1600" b="1" dirty="0"/>
              <a:t> </a:t>
            </a:r>
            <a:r>
              <a:rPr lang="de-DE" sz="1600" b="1" dirty="0" err="1"/>
              <a:t>justo</a:t>
            </a:r>
            <a:r>
              <a:rPr lang="de-DE" sz="1600" b="1" dirty="0"/>
              <a:t>, </a:t>
            </a:r>
            <a:r>
              <a:rPr lang="de-DE" sz="1600" b="1" dirty="0" err="1"/>
              <a:t>fringilla</a:t>
            </a:r>
            <a:r>
              <a:rPr lang="de-DE" sz="1600" b="1" dirty="0"/>
              <a:t> </a:t>
            </a:r>
            <a:r>
              <a:rPr lang="de-DE" sz="1600" b="1" dirty="0" err="1"/>
              <a:t>vel</a:t>
            </a:r>
            <a:r>
              <a:rPr lang="de-DE" sz="1600" b="1" dirty="0"/>
              <a:t>, </a:t>
            </a:r>
            <a:r>
              <a:rPr lang="de-DE" sz="1600" b="1" dirty="0" err="1"/>
              <a:t>aliquet</a:t>
            </a:r>
            <a:r>
              <a:rPr lang="de-DE" sz="1600" b="1" dirty="0"/>
              <a:t> </a:t>
            </a:r>
            <a:r>
              <a:rPr lang="de-DE" sz="1600" b="1" dirty="0" err="1"/>
              <a:t>nec</a:t>
            </a:r>
            <a:r>
              <a:rPr lang="de-DE" sz="1600" b="1" dirty="0"/>
              <a:t>, </a:t>
            </a:r>
            <a:r>
              <a:rPr lang="de-DE" sz="1600" b="1" dirty="0" err="1"/>
              <a:t>vulputate</a:t>
            </a:r>
            <a:r>
              <a:rPr lang="de-DE" sz="1600" b="1" dirty="0"/>
              <a:t> </a:t>
            </a:r>
            <a:r>
              <a:rPr lang="de-DE" sz="1600" b="1" dirty="0" err="1"/>
              <a:t>eget</a:t>
            </a:r>
            <a:r>
              <a:rPr lang="de-DE" sz="1600" b="1" dirty="0"/>
              <a:t>, </a:t>
            </a:r>
            <a:r>
              <a:rPr lang="de-DE" sz="1600" b="1" dirty="0" err="1"/>
              <a:t>arcu</a:t>
            </a:r>
            <a:endParaRPr lang="de-DE" sz="2500" b="1" dirty="0"/>
          </a:p>
        </p:txBody>
      </p:sp>
      <p:pic>
        <p:nvPicPr>
          <p:cNvPr id="17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182611"/>
            <a:ext cx="269952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9145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ogos/</a:t>
            </a:r>
            <a:r>
              <a:rPr lang="de-DE" dirty="0" err="1" smtClean="0"/>
              <a:t>Social</a:t>
            </a:r>
            <a:r>
              <a:rPr lang="de-DE" dirty="0" smtClean="0"/>
              <a:t> Media/Hardware</a:t>
            </a:r>
            <a:endParaRPr lang="de-DE" dirty="0"/>
          </a:p>
        </p:txBody>
      </p:sp>
      <p:grpSp>
        <p:nvGrpSpPr>
          <p:cNvPr id="103" name="Gruppieren 102"/>
          <p:cNvGrpSpPr/>
          <p:nvPr/>
        </p:nvGrpSpPr>
        <p:grpSpPr>
          <a:xfrm>
            <a:off x="2072138" y="2164130"/>
            <a:ext cx="697111" cy="697111"/>
            <a:chOff x="573534" y="3068960"/>
            <a:chExt cx="697111" cy="697111"/>
          </a:xfrm>
        </p:grpSpPr>
        <p:sp>
          <p:nvSpPr>
            <p:cNvPr id="104" name="Ellipse 103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5" name="Grafik 10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317" y="3172809"/>
              <a:ext cx="472480" cy="472480"/>
            </a:xfrm>
            <a:prstGeom prst="rect">
              <a:avLst/>
            </a:prstGeom>
          </p:spPr>
        </p:pic>
      </p:grpSp>
      <p:grpSp>
        <p:nvGrpSpPr>
          <p:cNvPr id="115" name="Gruppieren 114"/>
          <p:cNvGrpSpPr/>
          <p:nvPr/>
        </p:nvGrpSpPr>
        <p:grpSpPr>
          <a:xfrm>
            <a:off x="2891393" y="2164130"/>
            <a:ext cx="697111" cy="697111"/>
            <a:chOff x="1389967" y="3068960"/>
            <a:chExt cx="697111" cy="697111"/>
          </a:xfrm>
        </p:grpSpPr>
        <p:sp>
          <p:nvSpPr>
            <p:cNvPr id="116" name="Ellipse 115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7" name="Grafik 11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3336519"/>
              <a:ext cx="472480" cy="161993"/>
            </a:xfrm>
            <a:prstGeom prst="rect">
              <a:avLst/>
            </a:prstGeom>
          </p:spPr>
        </p:pic>
      </p:grpSp>
      <p:grpSp>
        <p:nvGrpSpPr>
          <p:cNvPr id="225" name="Gruppieren 224"/>
          <p:cNvGrpSpPr/>
          <p:nvPr/>
        </p:nvGrpSpPr>
        <p:grpSpPr>
          <a:xfrm>
            <a:off x="5349158" y="2164130"/>
            <a:ext cx="697111" cy="697111"/>
            <a:chOff x="3839266" y="4005064"/>
            <a:chExt cx="697111" cy="697111"/>
          </a:xfrm>
        </p:grpSpPr>
        <p:sp>
          <p:nvSpPr>
            <p:cNvPr id="226" name="Ellipse 225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7" name="Grafik 22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4263" y="4166995"/>
              <a:ext cx="373250" cy="373250"/>
            </a:xfrm>
            <a:prstGeom prst="rect">
              <a:avLst/>
            </a:prstGeom>
          </p:spPr>
        </p:pic>
      </p:grpSp>
      <p:grpSp>
        <p:nvGrpSpPr>
          <p:cNvPr id="228" name="Gruppieren 227"/>
          <p:cNvGrpSpPr/>
          <p:nvPr/>
        </p:nvGrpSpPr>
        <p:grpSpPr>
          <a:xfrm>
            <a:off x="6987668" y="2164130"/>
            <a:ext cx="697111" cy="697111"/>
            <a:chOff x="5472132" y="4005064"/>
            <a:chExt cx="697111" cy="697111"/>
          </a:xfrm>
        </p:grpSpPr>
        <p:sp>
          <p:nvSpPr>
            <p:cNvPr id="229" name="Ellipse 228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0" name="Grafik 22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4108913"/>
              <a:ext cx="472480" cy="472480"/>
            </a:xfrm>
            <a:prstGeom prst="rect">
              <a:avLst/>
            </a:prstGeom>
          </p:spPr>
        </p:pic>
      </p:grpSp>
      <p:grpSp>
        <p:nvGrpSpPr>
          <p:cNvPr id="231" name="Gruppieren 230"/>
          <p:cNvGrpSpPr/>
          <p:nvPr/>
        </p:nvGrpSpPr>
        <p:grpSpPr>
          <a:xfrm>
            <a:off x="8626178" y="2164130"/>
            <a:ext cx="697111" cy="697111"/>
            <a:chOff x="7104998" y="4005064"/>
            <a:chExt cx="697111" cy="697111"/>
          </a:xfrm>
        </p:grpSpPr>
        <p:sp>
          <p:nvSpPr>
            <p:cNvPr id="232" name="Ellipse 231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3" name="Grafik 2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1950" y="4108148"/>
              <a:ext cx="423208" cy="423208"/>
            </a:xfrm>
            <a:prstGeom prst="rect">
              <a:avLst/>
            </a:prstGeom>
          </p:spPr>
        </p:pic>
      </p:grpSp>
      <p:grpSp>
        <p:nvGrpSpPr>
          <p:cNvPr id="234" name="Gruppieren 233"/>
          <p:cNvGrpSpPr/>
          <p:nvPr/>
        </p:nvGrpSpPr>
        <p:grpSpPr>
          <a:xfrm>
            <a:off x="9445432" y="2164130"/>
            <a:ext cx="697111" cy="697111"/>
            <a:chOff x="7921427" y="4005064"/>
            <a:chExt cx="697111" cy="697111"/>
          </a:xfrm>
        </p:grpSpPr>
        <p:sp>
          <p:nvSpPr>
            <p:cNvPr id="235" name="Ellipse 234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6" name="Grafik 23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3299" y="4156936"/>
              <a:ext cx="393368" cy="393368"/>
            </a:xfrm>
            <a:prstGeom prst="rect">
              <a:avLst/>
            </a:prstGeom>
          </p:spPr>
        </p:pic>
      </p:grpSp>
      <p:grpSp>
        <p:nvGrpSpPr>
          <p:cNvPr id="240" name="Gruppieren 239"/>
          <p:cNvGrpSpPr/>
          <p:nvPr/>
        </p:nvGrpSpPr>
        <p:grpSpPr>
          <a:xfrm>
            <a:off x="4529903" y="2164130"/>
            <a:ext cx="697111" cy="697111"/>
            <a:chOff x="3022833" y="4005064"/>
            <a:chExt cx="697111" cy="697111"/>
          </a:xfrm>
        </p:grpSpPr>
        <p:sp>
          <p:nvSpPr>
            <p:cNvPr id="241" name="Ellipse 240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2" name="Grafik 24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1376" y="4143607"/>
              <a:ext cx="420026" cy="420026"/>
            </a:xfrm>
            <a:prstGeom prst="rect">
              <a:avLst/>
            </a:prstGeom>
          </p:spPr>
        </p:pic>
      </p:grpSp>
      <p:grpSp>
        <p:nvGrpSpPr>
          <p:cNvPr id="243" name="Gruppieren 242"/>
          <p:cNvGrpSpPr/>
          <p:nvPr/>
        </p:nvGrpSpPr>
        <p:grpSpPr>
          <a:xfrm>
            <a:off x="6168413" y="2164130"/>
            <a:ext cx="697111" cy="697111"/>
            <a:chOff x="4655699" y="4005064"/>
            <a:chExt cx="697111" cy="697111"/>
          </a:xfrm>
        </p:grpSpPr>
        <p:sp>
          <p:nvSpPr>
            <p:cNvPr id="244" name="Ellipse 243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5" name="Grafik 24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6" name="Gruppieren 245"/>
          <p:cNvGrpSpPr/>
          <p:nvPr/>
        </p:nvGrpSpPr>
        <p:grpSpPr>
          <a:xfrm>
            <a:off x="7806923" y="2164130"/>
            <a:ext cx="697111" cy="697111"/>
            <a:chOff x="6288565" y="4005064"/>
            <a:chExt cx="697111" cy="697111"/>
          </a:xfrm>
        </p:grpSpPr>
        <p:sp>
          <p:nvSpPr>
            <p:cNvPr id="247" name="Ellipse 246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8" name="Grafik 24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9101" y="4165600"/>
              <a:ext cx="376040" cy="376040"/>
            </a:xfrm>
            <a:prstGeom prst="rect">
              <a:avLst/>
            </a:prstGeom>
          </p:spPr>
        </p:pic>
      </p:grpSp>
      <p:grpSp>
        <p:nvGrpSpPr>
          <p:cNvPr id="252" name="Gruppieren 251"/>
          <p:cNvGrpSpPr/>
          <p:nvPr/>
        </p:nvGrpSpPr>
        <p:grpSpPr>
          <a:xfrm>
            <a:off x="3710648" y="2164130"/>
            <a:ext cx="697111" cy="697111"/>
            <a:chOff x="2206400" y="4941168"/>
            <a:chExt cx="697111" cy="697111"/>
          </a:xfrm>
        </p:grpSpPr>
        <p:sp>
          <p:nvSpPr>
            <p:cNvPr id="253" name="Ellipse 252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4" name="Grafik 25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7956" y="5048817"/>
              <a:ext cx="443502" cy="481348"/>
            </a:xfrm>
            <a:prstGeom prst="rect">
              <a:avLst/>
            </a:prstGeom>
          </p:spPr>
        </p:pic>
      </p:grpSp>
      <p:grpSp>
        <p:nvGrpSpPr>
          <p:cNvPr id="219" name="Gruppieren 218"/>
          <p:cNvGrpSpPr/>
          <p:nvPr/>
        </p:nvGrpSpPr>
        <p:grpSpPr>
          <a:xfrm>
            <a:off x="6984871" y="3021370"/>
            <a:ext cx="697111" cy="697111"/>
            <a:chOff x="7921427" y="2155825"/>
            <a:chExt cx="697111" cy="697111"/>
          </a:xfrm>
        </p:grpSpPr>
        <p:sp>
          <p:nvSpPr>
            <p:cNvPr id="220" name="Ellipse 219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1" name="Grafik 22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2672" y="2277070"/>
              <a:ext cx="454622" cy="454622"/>
            </a:xfrm>
            <a:prstGeom prst="rect">
              <a:avLst/>
            </a:prstGeom>
          </p:spPr>
        </p:pic>
      </p:grpSp>
      <p:grpSp>
        <p:nvGrpSpPr>
          <p:cNvPr id="222" name="Gruppieren 221"/>
          <p:cNvGrpSpPr/>
          <p:nvPr/>
        </p:nvGrpSpPr>
        <p:grpSpPr>
          <a:xfrm>
            <a:off x="3704127" y="3021370"/>
            <a:ext cx="697111" cy="697111"/>
            <a:chOff x="2206400" y="4005064"/>
            <a:chExt cx="697111" cy="697111"/>
          </a:xfrm>
        </p:grpSpPr>
        <p:sp>
          <p:nvSpPr>
            <p:cNvPr id="223" name="Ellipse 222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4" name="Grafik 22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0249" y="4125847"/>
              <a:ext cx="472480" cy="472480"/>
            </a:xfrm>
            <a:prstGeom prst="rect">
              <a:avLst/>
            </a:prstGeom>
          </p:spPr>
        </p:pic>
      </p:grpSp>
      <p:grpSp>
        <p:nvGrpSpPr>
          <p:cNvPr id="237" name="Gruppieren 236"/>
          <p:cNvGrpSpPr/>
          <p:nvPr/>
        </p:nvGrpSpPr>
        <p:grpSpPr>
          <a:xfrm>
            <a:off x="2063755" y="3021370"/>
            <a:ext cx="697111" cy="697111"/>
            <a:chOff x="1389967" y="4005064"/>
            <a:chExt cx="697111" cy="697111"/>
          </a:xfrm>
        </p:grpSpPr>
        <p:sp>
          <p:nvSpPr>
            <p:cNvPr id="238" name="Ellipse 237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9" name="Grafik 23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49" name="Gruppieren 248"/>
          <p:cNvGrpSpPr/>
          <p:nvPr/>
        </p:nvGrpSpPr>
        <p:grpSpPr>
          <a:xfrm>
            <a:off x="2883941" y="3021370"/>
            <a:ext cx="697111" cy="697111"/>
            <a:chOff x="573534" y="4941168"/>
            <a:chExt cx="697111" cy="697111"/>
          </a:xfrm>
        </p:grpSpPr>
        <p:sp>
          <p:nvSpPr>
            <p:cNvPr id="250" name="Ellipse 249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1" name="Grafik 250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513" y="5110147"/>
              <a:ext cx="359152" cy="359152"/>
            </a:xfrm>
            <a:prstGeom prst="rect">
              <a:avLst/>
            </a:prstGeom>
          </p:spPr>
        </p:pic>
      </p:grpSp>
      <p:grpSp>
        <p:nvGrpSpPr>
          <p:cNvPr id="255" name="Gruppieren 254"/>
          <p:cNvGrpSpPr/>
          <p:nvPr/>
        </p:nvGrpSpPr>
        <p:grpSpPr>
          <a:xfrm>
            <a:off x="5344499" y="3021370"/>
            <a:ext cx="697111" cy="697111"/>
            <a:chOff x="3839266" y="4941168"/>
            <a:chExt cx="697111" cy="697111"/>
          </a:xfrm>
        </p:grpSpPr>
        <p:sp>
          <p:nvSpPr>
            <p:cNvPr id="256" name="Ellipse 255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7" name="Grafik 256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58" name="Gruppieren 257"/>
          <p:cNvGrpSpPr/>
          <p:nvPr/>
        </p:nvGrpSpPr>
        <p:grpSpPr>
          <a:xfrm>
            <a:off x="4524313" y="3021370"/>
            <a:ext cx="697111" cy="697111"/>
            <a:chOff x="3022833" y="4941168"/>
            <a:chExt cx="697111" cy="697111"/>
          </a:xfrm>
        </p:grpSpPr>
        <p:sp>
          <p:nvSpPr>
            <p:cNvPr id="259" name="Ellipse 258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0" name="Grafik 259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61" name="Gruppieren 260"/>
          <p:cNvGrpSpPr/>
          <p:nvPr/>
        </p:nvGrpSpPr>
        <p:grpSpPr>
          <a:xfrm>
            <a:off x="6164685" y="3021370"/>
            <a:ext cx="697111" cy="697111"/>
            <a:chOff x="4655699" y="4941168"/>
            <a:chExt cx="697111" cy="697111"/>
          </a:xfrm>
        </p:grpSpPr>
        <p:sp>
          <p:nvSpPr>
            <p:cNvPr id="262" name="Ellipse 261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3" name="Grafik 262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9556" y="5055025"/>
              <a:ext cx="435530" cy="435530"/>
            </a:xfrm>
            <a:prstGeom prst="rect">
              <a:avLst/>
            </a:prstGeom>
          </p:spPr>
        </p:pic>
      </p:grpSp>
      <p:grpSp>
        <p:nvGrpSpPr>
          <p:cNvPr id="273" name="Gruppieren 272"/>
          <p:cNvGrpSpPr/>
          <p:nvPr/>
        </p:nvGrpSpPr>
        <p:grpSpPr>
          <a:xfrm>
            <a:off x="9445431" y="3021370"/>
            <a:ext cx="697111" cy="697111"/>
            <a:chOff x="7104998" y="3068960"/>
            <a:chExt cx="697111" cy="697111"/>
          </a:xfrm>
        </p:grpSpPr>
        <p:sp>
          <p:nvSpPr>
            <p:cNvPr id="274" name="Ellipse 273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5" name="Grafik 274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0166" y="3214128"/>
              <a:ext cx="406776" cy="406776"/>
            </a:xfrm>
            <a:prstGeom prst="rect">
              <a:avLst/>
            </a:prstGeom>
          </p:spPr>
        </p:pic>
      </p:grpSp>
      <p:grpSp>
        <p:nvGrpSpPr>
          <p:cNvPr id="276" name="Gruppieren 275"/>
          <p:cNvGrpSpPr/>
          <p:nvPr/>
        </p:nvGrpSpPr>
        <p:grpSpPr>
          <a:xfrm>
            <a:off x="7805057" y="3021370"/>
            <a:ext cx="697111" cy="697111"/>
            <a:chOff x="7921427" y="3068960"/>
            <a:chExt cx="697111" cy="697111"/>
          </a:xfrm>
        </p:grpSpPr>
        <p:sp>
          <p:nvSpPr>
            <p:cNvPr id="277" name="Ellipse 276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8" name="Grafik 277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6991" y="3214524"/>
              <a:ext cx="405984" cy="405984"/>
            </a:xfrm>
            <a:prstGeom prst="rect">
              <a:avLst/>
            </a:prstGeom>
          </p:spPr>
        </p:pic>
      </p:grpSp>
      <p:grpSp>
        <p:nvGrpSpPr>
          <p:cNvPr id="303" name="Gruppieren 302"/>
          <p:cNvGrpSpPr/>
          <p:nvPr/>
        </p:nvGrpSpPr>
        <p:grpSpPr>
          <a:xfrm>
            <a:off x="8625243" y="3021370"/>
            <a:ext cx="697111" cy="697111"/>
            <a:chOff x="3022833" y="3068960"/>
            <a:chExt cx="697111" cy="697111"/>
          </a:xfrm>
        </p:grpSpPr>
        <p:sp>
          <p:nvSpPr>
            <p:cNvPr id="304" name="Ellipse 303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5" name="Grafik 304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8001" y="3214128"/>
              <a:ext cx="406776" cy="406776"/>
            </a:xfrm>
            <a:prstGeom prst="rect">
              <a:avLst/>
            </a:prstGeom>
          </p:spPr>
        </p:pic>
      </p:grpSp>
      <p:grpSp>
        <p:nvGrpSpPr>
          <p:cNvPr id="264" name="Gruppieren 263"/>
          <p:cNvGrpSpPr/>
          <p:nvPr/>
        </p:nvGrpSpPr>
        <p:grpSpPr>
          <a:xfrm>
            <a:off x="4530794" y="3878610"/>
            <a:ext cx="697111" cy="697111"/>
            <a:chOff x="4655699" y="2155825"/>
            <a:chExt cx="697111" cy="697111"/>
          </a:xfrm>
        </p:grpSpPr>
        <p:sp>
          <p:nvSpPr>
            <p:cNvPr id="265" name="Ellipse 264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6" name="Grafik 265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2067" y="2312193"/>
              <a:ext cx="384376" cy="384376"/>
            </a:xfrm>
            <a:prstGeom prst="rect">
              <a:avLst/>
            </a:prstGeom>
          </p:spPr>
        </p:pic>
      </p:grpSp>
      <p:grpSp>
        <p:nvGrpSpPr>
          <p:cNvPr id="267" name="Gruppieren 266"/>
          <p:cNvGrpSpPr/>
          <p:nvPr/>
        </p:nvGrpSpPr>
        <p:grpSpPr>
          <a:xfrm>
            <a:off x="2072138" y="4750121"/>
            <a:ext cx="697111" cy="697111"/>
            <a:chOff x="573534" y="3068960"/>
            <a:chExt cx="697111" cy="697111"/>
          </a:xfrm>
        </p:grpSpPr>
        <p:sp>
          <p:nvSpPr>
            <p:cNvPr id="268" name="Ellipse 267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9" name="Grafik 268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776" y="3205070"/>
              <a:ext cx="407958" cy="407958"/>
            </a:xfrm>
            <a:prstGeom prst="rect">
              <a:avLst/>
            </a:prstGeom>
          </p:spPr>
        </p:pic>
      </p:grpSp>
      <p:grpSp>
        <p:nvGrpSpPr>
          <p:cNvPr id="270" name="Gruppieren 269"/>
          <p:cNvGrpSpPr/>
          <p:nvPr/>
        </p:nvGrpSpPr>
        <p:grpSpPr>
          <a:xfrm>
            <a:off x="3711242" y="4750121"/>
            <a:ext cx="697111" cy="697111"/>
            <a:chOff x="2206400" y="3068960"/>
            <a:chExt cx="697111" cy="697111"/>
          </a:xfrm>
        </p:grpSpPr>
        <p:sp>
          <p:nvSpPr>
            <p:cNvPr id="271" name="Ellipse 270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2" name="Grafik 271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79" name="Gruppieren 278"/>
          <p:cNvGrpSpPr/>
          <p:nvPr/>
        </p:nvGrpSpPr>
        <p:grpSpPr>
          <a:xfrm>
            <a:off x="2891690" y="4750121"/>
            <a:ext cx="697111" cy="697111"/>
            <a:chOff x="1389967" y="3068960"/>
            <a:chExt cx="697111" cy="697111"/>
          </a:xfrm>
        </p:grpSpPr>
        <p:sp>
          <p:nvSpPr>
            <p:cNvPr id="280" name="Ellipse 279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1" name="Grafik 280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82" name="Gruppieren 281"/>
          <p:cNvGrpSpPr/>
          <p:nvPr/>
        </p:nvGrpSpPr>
        <p:grpSpPr>
          <a:xfrm>
            <a:off x="9448104" y="3878610"/>
            <a:ext cx="697111" cy="697111"/>
            <a:chOff x="573534" y="4005064"/>
            <a:chExt cx="697111" cy="697111"/>
          </a:xfrm>
        </p:grpSpPr>
        <p:sp>
          <p:nvSpPr>
            <p:cNvPr id="283" name="Ellipse 282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4" name="Grafik 283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226" y="4157061"/>
              <a:ext cx="335876" cy="335876"/>
            </a:xfrm>
            <a:prstGeom prst="rect">
              <a:avLst/>
            </a:prstGeom>
          </p:spPr>
        </p:pic>
      </p:grpSp>
      <p:grpSp>
        <p:nvGrpSpPr>
          <p:cNvPr id="285" name="Gruppieren 284"/>
          <p:cNvGrpSpPr/>
          <p:nvPr/>
        </p:nvGrpSpPr>
        <p:grpSpPr>
          <a:xfrm>
            <a:off x="6169898" y="3878610"/>
            <a:ext cx="697111" cy="697111"/>
            <a:chOff x="7104998" y="4005064"/>
            <a:chExt cx="697111" cy="697111"/>
          </a:xfrm>
        </p:grpSpPr>
        <p:sp>
          <p:nvSpPr>
            <p:cNvPr id="286" name="Ellipse 285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7" name="Grafik 286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88" name="Gruppieren 287"/>
          <p:cNvGrpSpPr/>
          <p:nvPr/>
        </p:nvGrpSpPr>
        <p:grpSpPr>
          <a:xfrm>
            <a:off x="6989450" y="3878610"/>
            <a:ext cx="697111" cy="697111"/>
            <a:chOff x="7921427" y="4005064"/>
            <a:chExt cx="697111" cy="697111"/>
          </a:xfrm>
        </p:grpSpPr>
        <p:sp>
          <p:nvSpPr>
            <p:cNvPr id="289" name="Ellipse 288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0" name="Grafik 289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91" name="Gruppieren 290"/>
          <p:cNvGrpSpPr/>
          <p:nvPr/>
        </p:nvGrpSpPr>
        <p:grpSpPr>
          <a:xfrm>
            <a:off x="5350346" y="3878610"/>
            <a:ext cx="697111" cy="697111"/>
            <a:chOff x="6288565" y="4005064"/>
            <a:chExt cx="697111" cy="697111"/>
          </a:xfrm>
        </p:grpSpPr>
        <p:sp>
          <p:nvSpPr>
            <p:cNvPr id="292" name="Ellipse 291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3" name="Grafik 292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294" name="Gruppieren 293"/>
          <p:cNvGrpSpPr/>
          <p:nvPr/>
        </p:nvGrpSpPr>
        <p:grpSpPr>
          <a:xfrm>
            <a:off x="7809002" y="3878610"/>
            <a:ext cx="697111" cy="697111"/>
            <a:chOff x="573534" y="4941168"/>
            <a:chExt cx="697111" cy="697111"/>
          </a:xfrm>
        </p:grpSpPr>
        <p:sp>
          <p:nvSpPr>
            <p:cNvPr id="295" name="Ellipse 294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6" name="Grafik 295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306" name="Gruppieren 305"/>
          <p:cNvGrpSpPr/>
          <p:nvPr/>
        </p:nvGrpSpPr>
        <p:grpSpPr>
          <a:xfrm>
            <a:off x="8628554" y="3878610"/>
            <a:ext cx="697111" cy="697111"/>
            <a:chOff x="7104998" y="3068960"/>
            <a:chExt cx="697111" cy="697111"/>
          </a:xfrm>
        </p:grpSpPr>
        <p:sp>
          <p:nvSpPr>
            <p:cNvPr id="307" name="Ellipse 306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8" name="Grafik 307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12" name="Gruppieren 111"/>
          <p:cNvGrpSpPr/>
          <p:nvPr/>
        </p:nvGrpSpPr>
        <p:grpSpPr>
          <a:xfrm>
            <a:off x="4532887" y="5593089"/>
            <a:ext cx="697111" cy="697111"/>
            <a:chOff x="7921427" y="3068960"/>
            <a:chExt cx="697111" cy="697111"/>
          </a:xfrm>
        </p:grpSpPr>
        <p:sp>
          <p:nvSpPr>
            <p:cNvPr id="113" name="Ellipse 112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4" name="Grafik 113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64342"/>
              <a:ext cx="472480" cy="472480"/>
            </a:xfrm>
            <a:prstGeom prst="rect">
              <a:avLst/>
            </a:prstGeom>
          </p:spPr>
        </p:pic>
      </p:grpSp>
      <p:grpSp>
        <p:nvGrpSpPr>
          <p:cNvPr id="309" name="Gruppieren 308"/>
          <p:cNvGrpSpPr/>
          <p:nvPr/>
        </p:nvGrpSpPr>
        <p:grpSpPr>
          <a:xfrm>
            <a:off x="8643472" y="5593089"/>
            <a:ext cx="697111" cy="697111"/>
            <a:chOff x="2206400" y="3068960"/>
            <a:chExt cx="697111" cy="697111"/>
          </a:xfrm>
        </p:grpSpPr>
        <p:sp>
          <p:nvSpPr>
            <p:cNvPr id="310" name="Ellipse 309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1" name="Grafik 310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2179" y="3214739"/>
              <a:ext cx="405554" cy="405554"/>
            </a:xfrm>
            <a:prstGeom prst="rect">
              <a:avLst/>
            </a:prstGeom>
          </p:spPr>
        </p:pic>
      </p:grpSp>
      <p:grpSp>
        <p:nvGrpSpPr>
          <p:cNvPr id="312" name="Gruppieren 311"/>
          <p:cNvGrpSpPr/>
          <p:nvPr/>
        </p:nvGrpSpPr>
        <p:grpSpPr>
          <a:xfrm>
            <a:off x="2888653" y="5593089"/>
            <a:ext cx="697111" cy="697111"/>
            <a:chOff x="3839266" y="3068960"/>
            <a:chExt cx="697111" cy="697111"/>
          </a:xfrm>
        </p:grpSpPr>
        <p:sp>
          <p:nvSpPr>
            <p:cNvPr id="313" name="Ellipse 312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4" name="Grafik 313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2159" y="3191853"/>
              <a:ext cx="451326" cy="451326"/>
            </a:xfrm>
            <a:prstGeom prst="rect">
              <a:avLst/>
            </a:prstGeom>
          </p:spPr>
        </p:pic>
      </p:grpSp>
      <p:grpSp>
        <p:nvGrpSpPr>
          <p:cNvPr id="315" name="Gruppieren 314"/>
          <p:cNvGrpSpPr/>
          <p:nvPr/>
        </p:nvGrpSpPr>
        <p:grpSpPr>
          <a:xfrm>
            <a:off x="5355004" y="5593089"/>
            <a:ext cx="697111" cy="697111"/>
            <a:chOff x="5472132" y="3068960"/>
            <a:chExt cx="697111" cy="697111"/>
          </a:xfrm>
        </p:grpSpPr>
        <p:sp>
          <p:nvSpPr>
            <p:cNvPr id="316" name="Ellipse 315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7" name="Grafik 316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2515" y="3199343"/>
              <a:ext cx="436346" cy="436346"/>
            </a:xfrm>
            <a:prstGeom prst="rect">
              <a:avLst/>
            </a:prstGeom>
          </p:spPr>
        </p:pic>
      </p:grpSp>
      <p:grpSp>
        <p:nvGrpSpPr>
          <p:cNvPr id="318" name="Gruppieren 317"/>
          <p:cNvGrpSpPr/>
          <p:nvPr/>
        </p:nvGrpSpPr>
        <p:grpSpPr>
          <a:xfrm>
            <a:off x="6999238" y="5593089"/>
            <a:ext cx="697111" cy="697111"/>
            <a:chOff x="7104998" y="3068960"/>
            <a:chExt cx="697111" cy="697111"/>
          </a:xfrm>
          <a:solidFill>
            <a:schemeClr val="tx2"/>
          </a:solidFill>
        </p:grpSpPr>
        <p:sp>
          <p:nvSpPr>
            <p:cNvPr id="319" name="Ellipse 318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0" name="Grafik 319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3847" y="3207809"/>
              <a:ext cx="419414" cy="419414"/>
            </a:xfrm>
            <a:prstGeom prst="rect">
              <a:avLst/>
            </a:prstGeom>
            <a:grpFill/>
          </p:spPr>
        </p:pic>
      </p:grpSp>
      <p:grpSp>
        <p:nvGrpSpPr>
          <p:cNvPr id="321" name="Gruppieren 320"/>
          <p:cNvGrpSpPr/>
          <p:nvPr/>
        </p:nvGrpSpPr>
        <p:grpSpPr>
          <a:xfrm>
            <a:off x="7821355" y="5593089"/>
            <a:ext cx="697111" cy="697111"/>
            <a:chOff x="7921427" y="3068960"/>
            <a:chExt cx="697111" cy="697111"/>
          </a:xfrm>
        </p:grpSpPr>
        <p:sp>
          <p:nvSpPr>
            <p:cNvPr id="322" name="Ellipse 321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3" name="Grafik 322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24" name="Gruppieren 323"/>
          <p:cNvGrpSpPr/>
          <p:nvPr/>
        </p:nvGrpSpPr>
        <p:grpSpPr>
          <a:xfrm>
            <a:off x="2066536" y="5593089"/>
            <a:ext cx="697111" cy="697111"/>
            <a:chOff x="3022833" y="3068960"/>
            <a:chExt cx="697111" cy="697111"/>
          </a:xfrm>
        </p:grpSpPr>
        <p:sp>
          <p:nvSpPr>
            <p:cNvPr id="325" name="Ellipse 324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6" name="Grafik 325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0149" y="3216276"/>
              <a:ext cx="402480" cy="402480"/>
            </a:xfrm>
            <a:prstGeom prst="rect">
              <a:avLst/>
            </a:prstGeom>
          </p:spPr>
        </p:pic>
      </p:grpSp>
      <p:grpSp>
        <p:nvGrpSpPr>
          <p:cNvPr id="327" name="Gruppieren 326"/>
          <p:cNvGrpSpPr/>
          <p:nvPr/>
        </p:nvGrpSpPr>
        <p:grpSpPr>
          <a:xfrm>
            <a:off x="3710770" y="5593089"/>
            <a:ext cx="697111" cy="697111"/>
            <a:chOff x="4655699" y="3068960"/>
            <a:chExt cx="697111" cy="697111"/>
          </a:xfrm>
        </p:grpSpPr>
        <p:sp>
          <p:nvSpPr>
            <p:cNvPr id="328" name="Ellipse 327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9" name="Grafik 328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1482" y="3224743"/>
              <a:ext cx="385546" cy="385546"/>
            </a:xfrm>
            <a:prstGeom prst="rect">
              <a:avLst/>
            </a:prstGeom>
          </p:spPr>
        </p:pic>
      </p:grpSp>
      <p:grpSp>
        <p:nvGrpSpPr>
          <p:cNvPr id="330" name="Gruppieren 329"/>
          <p:cNvGrpSpPr/>
          <p:nvPr/>
        </p:nvGrpSpPr>
        <p:grpSpPr>
          <a:xfrm>
            <a:off x="6177121" y="5593089"/>
            <a:ext cx="697111" cy="697111"/>
            <a:chOff x="6288565" y="3068960"/>
            <a:chExt cx="697111" cy="697111"/>
          </a:xfrm>
        </p:grpSpPr>
        <p:sp>
          <p:nvSpPr>
            <p:cNvPr id="331" name="Ellipse 330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32" name="Grafik 331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1793" y="3212188"/>
              <a:ext cx="410656" cy="410656"/>
            </a:xfrm>
            <a:prstGeom prst="rect">
              <a:avLst/>
            </a:prstGeom>
          </p:spPr>
        </p:pic>
      </p:grpSp>
      <p:grpSp>
        <p:nvGrpSpPr>
          <p:cNvPr id="336" name="Gruppieren 335"/>
          <p:cNvGrpSpPr/>
          <p:nvPr/>
        </p:nvGrpSpPr>
        <p:grpSpPr>
          <a:xfrm>
            <a:off x="9465589" y="5593089"/>
            <a:ext cx="697111" cy="697111"/>
            <a:chOff x="6288565" y="4941168"/>
            <a:chExt cx="697111" cy="697111"/>
          </a:xfrm>
        </p:grpSpPr>
        <p:sp>
          <p:nvSpPr>
            <p:cNvPr id="337" name="Ellipse 336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38" name="Grafik 337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9061" y="5121664"/>
              <a:ext cx="336120" cy="336120"/>
            </a:xfrm>
            <a:prstGeom prst="rect">
              <a:avLst/>
            </a:prstGeom>
          </p:spPr>
        </p:pic>
      </p:grpSp>
      <p:grpSp>
        <p:nvGrpSpPr>
          <p:cNvPr id="100" name="Gruppieren 99"/>
          <p:cNvGrpSpPr/>
          <p:nvPr/>
        </p:nvGrpSpPr>
        <p:grpSpPr>
          <a:xfrm>
            <a:off x="5359934" y="4735850"/>
            <a:ext cx="697111" cy="697111"/>
            <a:chOff x="4655699" y="2155825"/>
            <a:chExt cx="697111" cy="697111"/>
          </a:xfrm>
        </p:grpSpPr>
        <p:sp>
          <p:nvSpPr>
            <p:cNvPr id="101" name="Ellipse 100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2" name="Grafik 101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6073" y="2286199"/>
              <a:ext cx="436364" cy="436364"/>
            </a:xfrm>
            <a:prstGeom prst="rect">
              <a:avLst/>
            </a:prstGeom>
          </p:spPr>
        </p:pic>
      </p:grpSp>
      <p:grpSp>
        <p:nvGrpSpPr>
          <p:cNvPr id="118" name="Gruppieren 117"/>
          <p:cNvGrpSpPr/>
          <p:nvPr/>
        </p:nvGrpSpPr>
        <p:grpSpPr>
          <a:xfrm>
            <a:off x="7003832" y="4735850"/>
            <a:ext cx="697111" cy="697111"/>
            <a:chOff x="573534" y="4005064"/>
            <a:chExt cx="697111" cy="697111"/>
          </a:xfrm>
        </p:grpSpPr>
        <p:sp>
          <p:nvSpPr>
            <p:cNvPr id="119" name="Ellipse 118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0" name="Grafik 119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360" y="4166014"/>
              <a:ext cx="368772" cy="368772"/>
            </a:xfrm>
            <a:prstGeom prst="rect">
              <a:avLst/>
            </a:prstGeom>
          </p:spPr>
        </p:pic>
      </p:grpSp>
      <p:grpSp>
        <p:nvGrpSpPr>
          <p:cNvPr id="136" name="Gruppieren 135"/>
          <p:cNvGrpSpPr/>
          <p:nvPr/>
        </p:nvGrpSpPr>
        <p:grpSpPr>
          <a:xfrm>
            <a:off x="4537985" y="4735850"/>
            <a:ext cx="697111" cy="697111"/>
            <a:chOff x="1389967" y="4005064"/>
            <a:chExt cx="697111" cy="697111"/>
          </a:xfrm>
        </p:grpSpPr>
        <p:sp>
          <p:nvSpPr>
            <p:cNvPr id="137" name="Ellipse 136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8" name="Grafik 137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2455" y="4137552"/>
              <a:ext cx="432136" cy="432136"/>
            </a:xfrm>
            <a:prstGeom prst="rect">
              <a:avLst/>
            </a:prstGeom>
          </p:spPr>
        </p:pic>
      </p:grpSp>
      <p:grpSp>
        <p:nvGrpSpPr>
          <p:cNvPr id="184" name="Gruppieren 183"/>
          <p:cNvGrpSpPr/>
          <p:nvPr/>
        </p:nvGrpSpPr>
        <p:grpSpPr>
          <a:xfrm>
            <a:off x="6181883" y="4735850"/>
            <a:ext cx="697111" cy="697111"/>
            <a:chOff x="6288565" y="4005064"/>
            <a:chExt cx="697111" cy="697111"/>
          </a:xfrm>
        </p:grpSpPr>
        <p:sp>
          <p:nvSpPr>
            <p:cNvPr id="185" name="Ellipse 184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6" name="Grafik 185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8088" y="4144587"/>
              <a:ext cx="418066" cy="418066"/>
            </a:xfrm>
            <a:prstGeom prst="rect">
              <a:avLst/>
            </a:prstGeom>
          </p:spPr>
        </p:pic>
      </p:grpSp>
      <p:grpSp>
        <p:nvGrpSpPr>
          <p:cNvPr id="333" name="Gruppieren 332"/>
          <p:cNvGrpSpPr/>
          <p:nvPr/>
        </p:nvGrpSpPr>
        <p:grpSpPr>
          <a:xfrm>
            <a:off x="9469675" y="4735850"/>
            <a:ext cx="697111" cy="697111"/>
            <a:chOff x="7104998" y="4941168"/>
            <a:chExt cx="697111" cy="697111"/>
          </a:xfrm>
        </p:grpSpPr>
        <p:sp>
          <p:nvSpPr>
            <p:cNvPr id="334" name="Ellipse 333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35" name="Grafik 334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7247" y="5083417"/>
              <a:ext cx="412614" cy="412614"/>
            </a:xfrm>
            <a:prstGeom prst="rect">
              <a:avLst/>
            </a:prstGeom>
          </p:spPr>
        </p:pic>
      </p:grpSp>
      <p:grpSp>
        <p:nvGrpSpPr>
          <p:cNvPr id="339" name="Gruppieren 338"/>
          <p:cNvGrpSpPr/>
          <p:nvPr/>
        </p:nvGrpSpPr>
        <p:grpSpPr>
          <a:xfrm>
            <a:off x="7825781" y="4735850"/>
            <a:ext cx="697111" cy="697111"/>
            <a:chOff x="7921427" y="4941168"/>
            <a:chExt cx="697111" cy="697111"/>
          </a:xfrm>
        </p:grpSpPr>
        <p:sp>
          <p:nvSpPr>
            <p:cNvPr id="340" name="Ellipse 339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1" name="Grafik 340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0782" y="5090523"/>
              <a:ext cx="398402" cy="398402"/>
            </a:xfrm>
            <a:prstGeom prst="rect">
              <a:avLst/>
            </a:prstGeom>
          </p:spPr>
        </p:pic>
      </p:grpSp>
      <p:grpSp>
        <p:nvGrpSpPr>
          <p:cNvPr id="342" name="Gruppieren 341"/>
          <p:cNvGrpSpPr/>
          <p:nvPr/>
        </p:nvGrpSpPr>
        <p:grpSpPr>
          <a:xfrm>
            <a:off x="8647730" y="4735850"/>
            <a:ext cx="697111" cy="697111"/>
            <a:chOff x="5472132" y="4941168"/>
            <a:chExt cx="697111" cy="697111"/>
          </a:xfrm>
        </p:grpSpPr>
        <p:sp>
          <p:nvSpPr>
            <p:cNvPr id="343" name="Ellipse 342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4" name="Grafik 343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3702" y="5082738"/>
              <a:ext cx="413972" cy="413972"/>
            </a:xfrm>
            <a:prstGeom prst="rect">
              <a:avLst/>
            </a:prstGeom>
          </p:spPr>
        </p:pic>
      </p:grpSp>
      <p:grpSp>
        <p:nvGrpSpPr>
          <p:cNvPr id="154" name="Gruppieren 153"/>
          <p:cNvGrpSpPr/>
          <p:nvPr/>
        </p:nvGrpSpPr>
        <p:grpSpPr>
          <a:xfrm>
            <a:off x="2063755" y="3849989"/>
            <a:ext cx="697111" cy="697111"/>
            <a:chOff x="1389967" y="4005064"/>
            <a:chExt cx="697111" cy="697111"/>
          </a:xfrm>
        </p:grpSpPr>
        <p:sp>
          <p:nvSpPr>
            <p:cNvPr id="155" name="Ellipse 154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6" name="Grafik 155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57" name="Gruppieren 156"/>
          <p:cNvGrpSpPr/>
          <p:nvPr/>
        </p:nvGrpSpPr>
        <p:grpSpPr>
          <a:xfrm>
            <a:off x="2877625" y="3872929"/>
            <a:ext cx="697111" cy="697111"/>
            <a:chOff x="5472132" y="3068960"/>
            <a:chExt cx="697111" cy="697111"/>
          </a:xfrm>
        </p:grpSpPr>
        <p:sp>
          <p:nvSpPr>
            <p:cNvPr id="158" name="Ellipse 157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9" name="Grafik 158"/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566" y="3206795"/>
              <a:ext cx="472244" cy="472244"/>
            </a:xfrm>
            <a:prstGeom prst="rect">
              <a:avLst/>
            </a:prstGeom>
          </p:spPr>
        </p:pic>
      </p:grpSp>
      <p:grpSp>
        <p:nvGrpSpPr>
          <p:cNvPr id="175" name="Gruppieren 174"/>
          <p:cNvGrpSpPr/>
          <p:nvPr/>
        </p:nvGrpSpPr>
        <p:grpSpPr>
          <a:xfrm>
            <a:off x="3695923" y="3872929"/>
            <a:ext cx="697111" cy="697111"/>
            <a:chOff x="5472132" y="3068960"/>
            <a:chExt cx="697111" cy="697111"/>
          </a:xfrm>
        </p:grpSpPr>
        <p:sp>
          <p:nvSpPr>
            <p:cNvPr id="176" name="Ellipse 175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7" name="Grafik 176"/>
            <p:cNvPicPr>
              <a:picLocks noChangeAspect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566" y="3181394"/>
              <a:ext cx="472244" cy="4722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19198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  <a:endParaRPr lang="de-DE" dirty="0"/>
          </a:p>
          <a:p>
            <a:r>
              <a:rPr lang="de-DE" dirty="0"/>
              <a:t>Titelvarianten </a:t>
            </a:r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b="1" dirty="0" smtClean="0">
                <a:solidFill>
                  <a:schemeClr val="tx2"/>
                </a:solidFill>
              </a:rPr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401943171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816655349"/>
              </p:ext>
            </p:extLst>
          </p:nvPr>
        </p:nvGraphicFramePr>
        <p:xfrm>
          <a:off x="2387838" y="2420888"/>
          <a:ext cx="7416824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6759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523027496"/>
              </p:ext>
            </p:extLst>
          </p:nvPr>
        </p:nvGraphicFramePr>
        <p:xfrm>
          <a:off x="2387838" y="2420888"/>
          <a:ext cx="7416824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491593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2065873" y="2158257"/>
            <a:ext cx="8094128" cy="4142746"/>
            <a:chOff x="343" y="1418"/>
            <a:chExt cx="5010" cy="2479"/>
          </a:xfrm>
        </p:grpSpPr>
        <p:sp>
          <p:nvSpPr>
            <p:cNvPr id="6" name="SMCShape07" descr="SMCShape07"/>
            <p:cNvSpPr>
              <a:spLocks noChangeArrowheads="1"/>
            </p:cNvSpPr>
            <p:nvPr/>
          </p:nvSpPr>
          <p:spPr bwMode="gray">
            <a:xfrm>
              <a:off x="2029" y="1692"/>
              <a:ext cx="1634" cy="220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 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pPr lvl="1"/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7" name="Rectangle 13"/>
            <p:cNvSpPr>
              <a:spLocks noChangeArrowheads="1"/>
            </p:cNvSpPr>
            <p:nvPr/>
          </p:nvSpPr>
          <p:spPr bwMode="gray">
            <a:xfrm>
              <a:off x="2029" y="1418"/>
              <a:ext cx="1634" cy="274"/>
            </a:xfrm>
            <a:prstGeom prst="round2Same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8" name="SMCShape07" descr="SMCShape07"/>
            <p:cNvSpPr>
              <a:spLocks noChangeArrowheads="1"/>
            </p:cNvSpPr>
            <p:nvPr/>
          </p:nvSpPr>
          <p:spPr bwMode="gray">
            <a:xfrm>
              <a:off x="343" y="1692"/>
              <a:ext cx="1638" cy="220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 dirty="0">
                  <a:solidFill>
                    <a:srgbClr val="000000"/>
                  </a:solidFill>
                </a:rPr>
                <a:t>Text </a:t>
              </a:r>
              <a:r>
                <a:rPr lang="de-DE" altLang="de-DE" sz="1200" dirty="0" err="1">
                  <a:solidFill>
                    <a:srgbClr val="000000"/>
                  </a:solidFill>
                </a:rPr>
                <a:t>Text</a:t>
              </a:r>
              <a:endParaRPr lang="de-DE" altLang="de-DE" sz="1200" dirty="0">
                <a:solidFill>
                  <a:srgbClr val="000000"/>
                </a:solidFill>
              </a:endParaRPr>
            </a:p>
            <a:p>
              <a:r>
                <a:rPr lang="de-DE" altLang="de-DE" sz="1200" dirty="0">
                  <a:solidFill>
                    <a:srgbClr val="000000"/>
                  </a:solidFill>
                </a:rPr>
                <a:t>Text</a:t>
              </a:r>
            </a:p>
            <a:p>
              <a:pPr lvl="1"/>
              <a:r>
                <a:rPr lang="de-DE" altLang="de-DE" sz="1000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13"/>
            <p:cNvSpPr>
              <a:spLocks noChangeArrowheads="1"/>
            </p:cNvSpPr>
            <p:nvPr/>
          </p:nvSpPr>
          <p:spPr bwMode="gray">
            <a:xfrm>
              <a:off x="343" y="1418"/>
              <a:ext cx="1638" cy="274"/>
            </a:xfrm>
            <a:prstGeom prst="round2Same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10" name="SMCShape07" descr="SMCShape07"/>
            <p:cNvSpPr>
              <a:spLocks noChangeArrowheads="1"/>
            </p:cNvSpPr>
            <p:nvPr/>
          </p:nvSpPr>
          <p:spPr bwMode="gray">
            <a:xfrm>
              <a:off x="3715" y="1692"/>
              <a:ext cx="1638" cy="220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 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pPr lvl="1"/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gray">
            <a:xfrm>
              <a:off x="3715" y="1418"/>
              <a:ext cx="1638" cy="274"/>
            </a:xfrm>
            <a:prstGeom prst="round2Same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6214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2065873" y="2162533"/>
            <a:ext cx="8094128" cy="4138259"/>
            <a:chOff x="612249" y="2251075"/>
            <a:chExt cx="7953375" cy="3986237"/>
          </a:xfrm>
        </p:grpSpPr>
        <p:grpSp>
          <p:nvGrpSpPr>
            <p:cNvPr id="5" name="Group 24"/>
            <p:cNvGrpSpPr>
              <a:grpSpLocks/>
            </p:cNvGrpSpPr>
            <p:nvPr/>
          </p:nvGrpSpPr>
          <p:grpSpPr bwMode="auto">
            <a:xfrm>
              <a:off x="612249" y="2251075"/>
              <a:ext cx="7953375" cy="1944216"/>
              <a:chOff x="343" y="1418"/>
              <a:chExt cx="5010" cy="1068"/>
            </a:xfrm>
          </p:grpSpPr>
          <p:sp>
            <p:nvSpPr>
              <p:cNvPr id="6" name="SMCShape07" descr="SMCShape07"/>
              <p:cNvSpPr>
                <a:spLocks noChangeArrowheads="1"/>
              </p:cNvSpPr>
              <p:nvPr/>
            </p:nvSpPr>
            <p:spPr bwMode="gray">
              <a:xfrm>
                <a:off x="2029" y="1660"/>
                <a:ext cx="1638" cy="82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 dirty="0">
                    <a:solidFill>
                      <a:srgbClr val="000000"/>
                    </a:solidFill>
                  </a:rPr>
                  <a:t>Text </a:t>
                </a:r>
                <a:r>
                  <a:rPr lang="de-DE" altLang="de-DE" sz="1200" dirty="0" err="1">
                    <a:solidFill>
                      <a:srgbClr val="000000"/>
                    </a:solidFill>
                  </a:rPr>
                  <a:t>Text</a:t>
                </a:r>
                <a:endParaRPr lang="de-DE" altLang="de-DE" sz="1200" dirty="0">
                  <a:solidFill>
                    <a:srgbClr val="000000"/>
                  </a:solidFill>
                </a:endParaRPr>
              </a:p>
              <a:p>
                <a:r>
                  <a:rPr lang="de-DE" altLang="de-DE" sz="1200" dirty="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 dirty="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7" name="Rectangle 13"/>
              <p:cNvSpPr>
                <a:spLocks noChangeArrowheads="1"/>
              </p:cNvSpPr>
              <p:nvPr/>
            </p:nvSpPr>
            <p:spPr bwMode="gray">
              <a:xfrm>
                <a:off x="2029" y="1418"/>
                <a:ext cx="1634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  <p:sp>
            <p:nvSpPr>
              <p:cNvPr id="8" name="SMCShape07" descr="SMCShape07"/>
              <p:cNvSpPr>
                <a:spLocks noChangeArrowheads="1"/>
              </p:cNvSpPr>
              <p:nvPr/>
            </p:nvSpPr>
            <p:spPr bwMode="gray">
              <a:xfrm>
                <a:off x="343" y="1660"/>
                <a:ext cx="1638" cy="82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 Text</a:t>
                </a:r>
              </a:p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9" name="Rectangle 13"/>
              <p:cNvSpPr>
                <a:spLocks noChangeArrowheads="1"/>
              </p:cNvSpPr>
              <p:nvPr/>
            </p:nvSpPr>
            <p:spPr bwMode="gray">
              <a:xfrm>
                <a:off x="343" y="1418"/>
                <a:ext cx="1638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  <p:sp>
            <p:nvSpPr>
              <p:cNvPr id="10" name="SMCShape07" descr="SMCShape07"/>
              <p:cNvSpPr>
                <a:spLocks noChangeArrowheads="1"/>
              </p:cNvSpPr>
              <p:nvPr/>
            </p:nvSpPr>
            <p:spPr bwMode="gray">
              <a:xfrm>
                <a:off x="3715" y="1660"/>
                <a:ext cx="1638" cy="82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 Text</a:t>
                </a:r>
              </a:p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11" name="Rectangle 13"/>
              <p:cNvSpPr>
                <a:spLocks noChangeArrowheads="1"/>
              </p:cNvSpPr>
              <p:nvPr/>
            </p:nvSpPr>
            <p:spPr bwMode="gray">
              <a:xfrm>
                <a:off x="3715" y="1418"/>
                <a:ext cx="1638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</p:grpSp>
        <p:grpSp>
          <p:nvGrpSpPr>
            <p:cNvPr id="12" name="Group 24"/>
            <p:cNvGrpSpPr>
              <a:grpSpLocks/>
            </p:cNvGrpSpPr>
            <p:nvPr/>
          </p:nvGrpSpPr>
          <p:grpSpPr bwMode="auto">
            <a:xfrm>
              <a:off x="612249" y="4293096"/>
              <a:ext cx="7953375" cy="1944216"/>
              <a:chOff x="343" y="1418"/>
              <a:chExt cx="5010" cy="1068"/>
            </a:xfrm>
          </p:grpSpPr>
          <p:sp>
            <p:nvSpPr>
              <p:cNvPr id="13" name="SMCShape07" descr="SMCShape07"/>
              <p:cNvSpPr>
                <a:spLocks noChangeArrowheads="1"/>
              </p:cNvSpPr>
              <p:nvPr/>
            </p:nvSpPr>
            <p:spPr bwMode="gray">
              <a:xfrm>
                <a:off x="2029" y="1660"/>
                <a:ext cx="1638" cy="82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 Text</a:t>
                </a:r>
              </a:p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14" name="Rectangle 13"/>
              <p:cNvSpPr>
                <a:spLocks noChangeArrowheads="1"/>
              </p:cNvSpPr>
              <p:nvPr/>
            </p:nvSpPr>
            <p:spPr bwMode="gray">
              <a:xfrm>
                <a:off x="2029" y="1418"/>
                <a:ext cx="1634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  <p:sp>
            <p:nvSpPr>
              <p:cNvPr id="15" name="SMCShape07" descr="SMCShape07"/>
              <p:cNvSpPr>
                <a:spLocks noChangeArrowheads="1"/>
              </p:cNvSpPr>
              <p:nvPr/>
            </p:nvSpPr>
            <p:spPr bwMode="gray">
              <a:xfrm>
                <a:off x="343" y="1660"/>
                <a:ext cx="1638" cy="82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 Text</a:t>
                </a:r>
              </a:p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16" name="Rectangle 13"/>
              <p:cNvSpPr>
                <a:spLocks noChangeArrowheads="1"/>
              </p:cNvSpPr>
              <p:nvPr/>
            </p:nvSpPr>
            <p:spPr bwMode="gray">
              <a:xfrm>
                <a:off x="343" y="1418"/>
                <a:ext cx="1638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  <p:sp>
            <p:nvSpPr>
              <p:cNvPr id="17" name="SMCShape07" descr="SMCShape07"/>
              <p:cNvSpPr>
                <a:spLocks noChangeArrowheads="1"/>
              </p:cNvSpPr>
              <p:nvPr/>
            </p:nvSpPr>
            <p:spPr bwMode="gray">
              <a:xfrm>
                <a:off x="3715" y="1660"/>
                <a:ext cx="1638" cy="82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108000" rIns="108000" bIns="108000"/>
              <a:lstStyle>
                <a:lvl1pPr marL="177800" indent="-177800" defTabSz="889000">
                  <a:spcBef>
                    <a:spcPct val="20000"/>
                  </a:spcBef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06400" indent="-1508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647700" indent="-138113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246188" indent="-177800" defTabSz="889000">
                  <a:spcBef>
                    <a:spcPct val="20000"/>
                  </a:spcBef>
                  <a:buClr>
                    <a:srgbClr val="A61F7D"/>
                  </a:buClr>
                  <a:buFont typeface="Arial" panose="020B0604020202020204" pitchFamily="34" charset="0"/>
                  <a:buChar char="●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143125" indent="-265113" defTabSz="8890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6003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30575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5147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971925" indent="-265113" defTabSz="8890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 Text</a:t>
                </a:r>
              </a:p>
              <a:p>
                <a:r>
                  <a:rPr lang="de-DE" altLang="de-DE" sz="1200">
                    <a:solidFill>
                      <a:srgbClr val="000000"/>
                    </a:solidFill>
                  </a:rPr>
                  <a:t>Text</a:t>
                </a:r>
              </a:p>
              <a:p>
                <a:pPr lvl="1"/>
                <a:r>
                  <a:rPr lang="de-DE" altLang="de-DE" sz="1000">
                    <a:solidFill>
                      <a:srgbClr val="000000"/>
                    </a:solidFill>
                  </a:rPr>
                  <a:t>Text</a:t>
                </a:r>
              </a:p>
            </p:txBody>
          </p:sp>
          <p:sp>
            <p:nvSpPr>
              <p:cNvPr id="18" name="Rectangle 13"/>
              <p:cNvSpPr>
                <a:spLocks noChangeArrowheads="1"/>
              </p:cNvSpPr>
              <p:nvPr/>
            </p:nvSpPr>
            <p:spPr bwMode="gray">
              <a:xfrm>
                <a:off x="3715" y="1418"/>
                <a:ext cx="1638" cy="242"/>
              </a:xfrm>
              <a:prstGeom prst="round2Same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de-DE" altLang="de-DE" sz="1400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Text</a:t>
                </a:r>
              </a:p>
            </p:txBody>
          </p:sp>
        </p:grp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25635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102"/>
          <p:cNvGrpSpPr>
            <a:grpSpLocks/>
          </p:cNvGrpSpPr>
          <p:nvPr/>
        </p:nvGrpSpPr>
        <p:grpSpPr bwMode="auto">
          <a:xfrm>
            <a:off x="2075392" y="2158262"/>
            <a:ext cx="8067146" cy="4143017"/>
            <a:chOff x="364" y="1400"/>
            <a:chExt cx="5086" cy="2612"/>
          </a:xfrm>
        </p:grpSpPr>
        <p:sp>
          <p:nvSpPr>
            <p:cNvPr id="34" name="SMCShape07" descr="SMCShape07"/>
            <p:cNvSpPr>
              <a:spLocks noChangeArrowheads="1"/>
            </p:cNvSpPr>
            <p:nvPr/>
          </p:nvSpPr>
          <p:spPr bwMode="gray">
            <a:xfrm>
              <a:off x="364" y="1738"/>
              <a:ext cx="1635" cy="22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5" name="AutoShape 4"/>
            <p:cNvSpPr>
              <a:spLocks noChangeArrowheads="1"/>
            </p:cNvSpPr>
            <p:nvPr/>
          </p:nvSpPr>
          <p:spPr bwMode="gray">
            <a:xfrm>
              <a:off x="364" y="1400"/>
              <a:ext cx="1728" cy="338"/>
            </a:xfrm>
            <a:prstGeom prst="homePlate">
              <a:avLst>
                <a:gd name="adj" fmla="val 27266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6" name="AutoShape 17"/>
            <p:cNvSpPr>
              <a:spLocks noChangeArrowheads="1"/>
            </p:cNvSpPr>
            <p:nvPr/>
          </p:nvSpPr>
          <p:spPr bwMode="gray">
            <a:xfrm>
              <a:off x="2048" y="1400"/>
              <a:ext cx="1719" cy="338"/>
            </a:xfrm>
            <a:prstGeom prst="chevron">
              <a:avLst>
                <a:gd name="adj" fmla="val 25382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7" name="SMCShape07" descr="SMCShape07"/>
            <p:cNvSpPr>
              <a:spLocks noChangeArrowheads="1"/>
            </p:cNvSpPr>
            <p:nvPr/>
          </p:nvSpPr>
          <p:spPr bwMode="gray">
            <a:xfrm>
              <a:off x="2048" y="1738"/>
              <a:ext cx="1635" cy="22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8" name="AutoShape 20"/>
            <p:cNvSpPr>
              <a:spLocks noChangeArrowheads="1"/>
            </p:cNvSpPr>
            <p:nvPr/>
          </p:nvSpPr>
          <p:spPr bwMode="gray">
            <a:xfrm>
              <a:off x="3731" y="1400"/>
              <a:ext cx="1719" cy="338"/>
            </a:xfrm>
            <a:prstGeom prst="chevron">
              <a:avLst>
                <a:gd name="adj" fmla="val 25382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9" name="SMCShape07" descr="SMCShape07"/>
            <p:cNvSpPr>
              <a:spLocks noChangeArrowheads="1"/>
            </p:cNvSpPr>
            <p:nvPr/>
          </p:nvSpPr>
          <p:spPr bwMode="gray">
            <a:xfrm>
              <a:off x="3731" y="1738"/>
              <a:ext cx="1635" cy="22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2168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37"/>
          <p:cNvGrpSpPr>
            <a:grpSpLocks/>
          </p:cNvGrpSpPr>
          <p:nvPr/>
        </p:nvGrpSpPr>
        <p:grpSpPr bwMode="auto">
          <a:xfrm>
            <a:off x="2078303" y="2155830"/>
            <a:ext cx="8067600" cy="4144963"/>
            <a:chOff x="365" y="1401"/>
            <a:chExt cx="5079" cy="2611"/>
          </a:xfrm>
        </p:grpSpPr>
        <p:sp>
          <p:nvSpPr>
            <p:cNvPr id="22" name="SMCShape07" descr="SMCShape07"/>
            <p:cNvSpPr>
              <a:spLocks noChangeArrowheads="1"/>
            </p:cNvSpPr>
            <p:nvPr/>
          </p:nvSpPr>
          <p:spPr bwMode="gray">
            <a:xfrm>
              <a:off x="365" y="1739"/>
              <a:ext cx="1226" cy="19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3" name="AutoShape 4"/>
            <p:cNvSpPr>
              <a:spLocks noChangeArrowheads="1"/>
            </p:cNvSpPr>
            <p:nvPr/>
          </p:nvSpPr>
          <p:spPr bwMode="gray">
            <a:xfrm>
              <a:off x="365" y="1401"/>
              <a:ext cx="1296" cy="338"/>
            </a:xfrm>
            <a:prstGeom prst="homePlate">
              <a:avLst>
                <a:gd name="adj" fmla="val 20450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4" name="AutoShape 21"/>
            <p:cNvSpPr>
              <a:spLocks noChangeArrowheads="1"/>
            </p:cNvSpPr>
            <p:nvPr/>
          </p:nvSpPr>
          <p:spPr bwMode="gray">
            <a:xfrm>
              <a:off x="1630" y="1401"/>
              <a:ext cx="1289" cy="338"/>
            </a:xfrm>
            <a:prstGeom prst="chevron">
              <a:avLst>
                <a:gd name="adj" fmla="val 19033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5" name="SMCShape07" descr="SMCShape07"/>
            <p:cNvSpPr>
              <a:spLocks noChangeArrowheads="1"/>
            </p:cNvSpPr>
            <p:nvPr/>
          </p:nvSpPr>
          <p:spPr bwMode="gray">
            <a:xfrm>
              <a:off x="1625" y="1739"/>
              <a:ext cx="1226" cy="19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3" name="AutoShape 24"/>
            <p:cNvSpPr>
              <a:spLocks noChangeArrowheads="1"/>
            </p:cNvSpPr>
            <p:nvPr/>
          </p:nvSpPr>
          <p:spPr bwMode="gray">
            <a:xfrm>
              <a:off x="2888" y="1401"/>
              <a:ext cx="1289" cy="338"/>
            </a:xfrm>
            <a:prstGeom prst="chevron">
              <a:avLst>
                <a:gd name="adj" fmla="val 19033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4" name="SMCShape07" descr="SMCShape07"/>
            <p:cNvSpPr>
              <a:spLocks noChangeArrowheads="1"/>
            </p:cNvSpPr>
            <p:nvPr/>
          </p:nvSpPr>
          <p:spPr bwMode="gray">
            <a:xfrm>
              <a:off x="2885" y="1739"/>
              <a:ext cx="1226" cy="19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5" name="AutoShape 27"/>
            <p:cNvSpPr>
              <a:spLocks noChangeArrowheads="1"/>
            </p:cNvSpPr>
            <p:nvPr/>
          </p:nvSpPr>
          <p:spPr bwMode="gray">
            <a:xfrm>
              <a:off x="4146" y="1401"/>
              <a:ext cx="1289" cy="338"/>
            </a:xfrm>
            <a:prstGeom prst="chevron">
              <a:avLst>
                <a:gd name="adj" fmla="val 19033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6" name="SMCShape07" descr="SMCShape07"/>
            <p:cNvSpPr>
              <a:spLocks noChangeArrowheads="1"/>
            </p:cNvSpPr>
            <p:nvPr/>
          </p:nvSpPr>
          <p:spPr bwMode="gray">
            <a:xfrm>
              <a:off x="4146" y="1739"/>
              <a:ext cx="1226" cy="19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7" name="AutoShape 4"/>
            <p:cNvSpPr>
              <a:spLocks noChangeArrowheads="1"/>
            </p:cNvSpPr>
            <p:nvPr/>
          </p:nvSpPr>
          <p:spPr bwMode="gray">
            <a:xfrm>
              <a:off x="365" y="3706"/>
              <a:ext cx="5079" cy="306"/>
            </a:xfrm>
            <a:prstGeom prst="homePlate">
              <a:avLst>
                <a:gd name="adj" fmla="val 23130"/>
              </a:avLst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0" hangingPunct="0"/>
              <a:r>
                <a:rPr lang="de-DE" altLang="de-DE" sz="1400" b="1">
                  <a:solidFill>
                    <a:srgbClr val="FFFFFF"/>
                  </a:solidFill>
                  <a:cs typeface="Arial" panose="020B0604020202020204" pitchFamily="34" charset="0"/>
                </a:rPr>
                <a:t>Entwicklung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0475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44"/>
          <p:cNvGrpSpPr>
            <a:grpSpLocks/>
          </p:cNvGrpSpPr>
          <p:nvPr/>
        </p:nvGrpSpPr>
        <p:grpSpPr bwMode="auto">
          <a:xfrm>
            <a:off x="2067982" y="2166724"/>
            <a:ext cx="8067600" cy="4133850"/>
            <a:chOff x="364" y="1400"/>
            <a:chExt cx="5082" cy="2604"/>
          </a:xfrm>
        </p:grpSpPr>
        <p:sp>
          <p:nvSpPr>
            <p:cNvPr id="21" name="AutoShape 4"/>
            <p:cNvSpPr>
              <a:spLocks noChangeArrowheads="1"/>
            </p:cNvSpPr>
            <p:nvPr/>
          </p:nvSpPr>
          <p:spPr bwMode="gray">
            <a:xfrm>
              <a:off x="364" y="1400"/>
              <a:ext cx="1052" cy="338"/>
            </a:xfrm>
            <a:prstGeom prst="homePlate">
              <a:avLst>
                <a:gd name="adj" fmla="val 23675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2" name="SMCShape07" descr="SMCShape07"/>
            <p:cNvSpPr>
              <a:spLocks noChangeArrowheads="1"/>
            </p:cNvSpPr>
            <p:nvPr/>
          </p:nvSpPr>
          <p:spPr bwMode="gray">
            <a:xfrm>
              <a:off x="364" y="1738"/>
              <a:ext cx="971" cy="2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3" name="AutoShape 23"/>
            <p:cNvSpPr>
              <a:spLocks noChangeArrowheads="1"/>
            </p:cNvSpPr>
            <p:nvPr/>
          </p:nvSpPr>
          <p:spPr bwMode="gray">
            <a:xfrm>
              <a:off x="1372" y="1400"/>
              <a:ext cx="1047" cy="338"/>
            </a:xfrm>
            <a:prstGeom prst="chevron">
              <a:avLst>
                <a:gd name="adj" fmla="val 2248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4" name="SMCShape07" descr="SMCShape07"/>
            <p:cNvSpPr>
              <a:spLocks noChangeArrowheads="1"/>
            </p:cNvSpPr>
            <p:nvPr/>
          </p:nvSpPr>
          <p:spPr bwMode="gray">
            <a:xfrm>
              <a:off x="1372" y="1738"/>
              <a:ext cx="971" cy="2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000" dirty="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000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5" name="AutoShape 26"/>
            <p:cNvSpPr>
              <a:spLocks noChangeArrowheads="1"/>
            </p:cNvSpPr>
            <p:nvPr/>
          </p:nvSpPr>
          <p:spPr bwMode="gray">
            <a:xfrm>
              <a:off x="2381" y="1400"/>
              <a:ext cx="1047" cy="338"/>
            </a:xfrm>
            <a:prstGeom prst="chevron">
              <a:avLst>
                <a:gd name="adj" fmla="val 2248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6" name="SMCShape07" descr="SMCShape07"/>
            <p:cNvSpPr>
              <a:spLocks noChangeArrowheads="1"/>
            </p:cNvSpPr>
            <p:nvPr/>
          </p:nvSpPr>
          <p:spPr bwMode="gray">
            <a:xfrm>
              <a:off x="2381" y="1738"/>
              <a:ext cx="971" cy="2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7" name="AutoShape 29"/>
            <p:cNvSpPr>
              <a:spLocks noChangeArrowheads="1"/>
            </p:cNvSpPr>
            <p:nvPr/>
          </p:nvSpPr>
          <p:spPr bwMode="gray">
            <a:xfrm>
              <a:off x="3390" y="1400"/>
              <a:ext cx="1047" cy="338"/>
            </a:xfrm>
            <a:prstGeom prst="chevron">
              <a:avLst>
                <a:gd name="adj" fmla="val 2248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8" name="SMCShape07" descr="SMCShape07"/>
            <p:cNvSpPr>
              <a:spLocks noChangeArrowheads="1"/>
            </p:cNvSpPr>
            <p:nvPr/>
          </p:nvSpPr>
          <p:spPr bwMode="gray">
            <a:xfrm>
              <a:off x="3390" y="1738"/>
              <a:ext cx="971" cy="2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9" name="AutoShape 32"/>
            <p:cNvSpPr>
              <a:spLocks noChangeArrowheads="1"/>
            </p:cNvSpPr>
            <p:nvPr/>
          </p:nvSpPr>
          <p:spPr bwMode="gray">
            <a:xfrm>
              <a:off x="4399" y="1400"/>
              <a:ext cx="1047" cy="338"/>
            </a:xfrm>
            <a:prstGeom prst="chevron">
              <a:avLst>
                <a:gd name="adj" fmla="val 2248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88000" anchor="ctr"/>
            <a:lstStyle/>
            <a:p>
              <a:pPr eaLnBrk="0" hangingPunct="0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0" name="SMCShape07" descr="SMCShape07"/>
            <p:cNvSpPr>
              <a:spLocks noChangeArrowheads="1"/>
            </p:cNvSpPr>
            <p:nvPr/>
          </p:nvSpPr>
          <p:spPr bwMode="gray">
            <a:xfrm>
              <a:off x="4399" y="1738"/>
              <a:ext cx="971" cy="2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461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000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303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2"/>
          <p:cNvGrpSpPr>
            <a:grpSpLocks/>
          </p:cNvGrpSpPr>
          <p:nvPr/>
        </p:nvGrpSpPr>
        <p:grpSpPr bwMode="auto">
          <a:xfrm>
            <a:off x="2071159" y="2158261"/>
            <a:ext cx="8071908" cy="4142531"/>
            <a:chOff x="382" y="1454"/>
            <a:chExt cx="5010" cy="2426"/>
          </a:xfrm>
        </p:grpSpPr>
        <p:sp>
          <p:nvSpPr>
            <p:cNvPr id="56" name="SMCShape07" descr="SMCShape07"/>
            <p:cNvSpPr>
              <a:spLocks noChangeArrowheads="1"/>
            </p:cNvSpPr>
            <p:nvPr/>
          </p:nvSpPr>
          <p:spPr bwMode="gray">
            <a:xfrm>
              <a:off x="884" y="1454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57" name="AutoShape 4"/>
            <p:cNvSpPr>
              <a:spLocks noChangeArrowheads="1"/>
            </p:cNvSpPr>
            <p:nvPr/>
          </p:nvSpPr>
          <p:spPr bwMode="gray">
            <a:xfrm>
              <a:off x="382" y="1454"/>
              <a:ext cx="888" cy="778"/>
            </a:xfrm>
            <a:prstGeom prst="homePlate">
              <a:avLst>
                <a:gd name="adj" fmla="val 23077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58" name="SMCShape07" descr="SMCShape07"/>
            <p:cNvSpPr>
              <a:spLocks noChangeArrowheads="1"/>
            </p:cNvSpPr>
            <p:nvPr/>
          </p:nvSpPr>
          <p:spPr bwMode="gray">
            <a:xfrm>
              <a:off x="884" y="2278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gray">
            <a:xfrm>
              <a:off x="382" y="2278"/>
              <a:ext cx="888" cy="778"/>
            </a:xfrm>
            <a:prstGeom prst="homePlate">
              <a:avLst>
                <a:gd name="adj" fmla="val 21021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60" name="SMCShape07" descr="SMCShape07"/>
            <p:cNvSpPr>
              <a:spLocks noChangeArrowheads="1"/>
            </p:cNvSpPr>
            <p:nvPr/>
          </p:nvSpPr>
          <p:spPr bwMode="gray">
            <a:xfrm>
              <a:off x="884" y="3102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61" name="AutoShape 4"/>
            <p:cNvSpPr>
              <a:spLocks noChangeArrowheads="1"/>
            </p:cNvSpPr>
            <p:nvPr/>
          </p:nvSpPr>
          <p:spPr bwMode="gray">
            <a:xfrm>
              <a:off x="382" y="3102"/>
              <a:ext cx="888" cy="778"/>
            </a:xfrm>
            <a:prstGeom prst="homePlate">
              <a:avLst>
                <a:gd name="adj" fmla="val 19650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96079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52"/>
          <p:cNvGrpSpPr>
            <a:grpSpLocks/>
          </p:cNvGrpSpPr>
          <p:nvPr/>
        </p:nvGrpSpPr>
        <p:grpSpPr bwMode="auto">
          <a:xfrm>
            <a:off x="2071158" y="2158256"/>
            <a:ext cx="8071910" cy="4142532"/>
            <a:chOff x="382" y="1454"/>
            <a:chExt cx="5010" cy="3253"/>
          </a:xfrm>
        </p:grpSpPr>
        <p:sp>
          <p:nvSpPr>
            <p:cNvPr id="24" name="SMCShape07" descr="SMCShape07"/>
            <p:cNvSpPr>
              <a:spLocks noChangeArrowheads="1"/>
            </p:cNvSpPr>
            <p:nvPr/>
          </p:nvSpPr>
          <p:spPr bwMode="gray">
            <a:xfrm>
              <a:off x="884" y="1454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5" name="AutoShape 4"/>
            <p:cNvSpPr>
              <a:spLocks noChangeArrowheads="1"/>
            </p:cNvSpPr>
            <p:nvPr/>
          </p:nvSpPr>
          <p:spPr bwMode="gray">
            <a:xfrm>
              <a:off x="382" y="1454"/>
              <a:ext cx="888" cy="778"/>
            </a:xfrm>
            <a:prstGeom prst="homePlate">
              <a:avLst>
                <a:gd name="adj" fmla="val 23077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6" name="SMCShape07" descr="SMCShape07"/>
            <p:cNvSpPr>
              <a:spLocks noChangeArrowheads="1"/>
            </p:cNvSpPr>
            <p:nvPr/>
          </p:nvSpPr>
          <p:spPr bwMode="gray">
            <a:xfrm>
              <a:off x="884" y="2278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7" name="AutoShape 4"/>
            <p:cNvSpPr>
              <a:spLocks noChangeArrowheads="1"/>
            </p:cNvSpPr>
            <p:nvPr/>
          </p:nvSpPr>
          <p:spPr bwMode="gray">
            <a:xfrm>
              <a:off x="382" y="2278"/>
              <a:ext cx="888" cy="778"/>
            </a:xfrm>
            <a:prstGeom prst="homePlate">
              <a:avLst>
                <a:gd name="adj" fmla="val 21021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28" name="SMCShape07" descr="SMCShape07"/>
            <p:cNvSpPr>
              <a:spLocks noChangeArrowheads="1"/>
            </p:cNvSpPr>
            <p:nvPr/>
          </p:nvSpPr>
          <p:spPr bwMode="gray">
            <a:xfrm>
              <a:off x="884" y="3102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9" name="AutoShape 4"/>
            <p:cNvSpPr>
              <a:spLocks noChangeArrowheads="1"/>
            </p:cNvSpPr>
            <p:nvPr/>
          </p:nvSpPr>
          <p:spPr bwMode="gray">
            <a:xfrm>
              <a:off x="382" y="3102"/>
              <a:ext cx="888" cy="778"/>
            </a:xfrm>
            <a:prstGeom prst="homePlate">
              <a:avLst>
                <a:gd name="adj" fmla="val 19650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0" name="SMCShape07" descr="SMCShape07"/>
            <p:cNvSpPr>
              <a:spLocks noChangeArrowheads="1"/>
            </p:cNvSpPr>
            <p:nvPr/>
          </p:nvSpPr>
          <p:spPr bwMode="gray">
            <a:xfrm>
              <a:off x="884" y="3929"/>
              <a:ext cx="4508" cy="7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0" tIns="108000" rIns="108000" bIns="108000" anchor="ctr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1" name="AutoShape 4"/>
            <p:cNvSpPr>
              <a:spLocks noChangeArrowheads="1"/>
            </p:cNvSpPr>
            <p:nvPr/>
          </p:nvSpPr>
          <p:spPr bwMode="gray">
            <a:xfrm>
              <a:off x="382" y="3929"/>
              <a:ext cx="888" cy="778"/>
            </a:xfrm>
            <a:prstGeom prst="homePlate">
              <a:avLst>
                <a:gd name="adj" fmla="val 19650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rIns="108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0" hangingPunct="0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71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üro/Organisation </a:t>
            </a:r>
            <a:endParaRPr lang="de-DE" dirty="0"/>
          </a:p>
        </p:txBody>
      </p:sp>
      <p:grpSp>
        <p:nvGrpSpPr>
          <p:cNvPr id="185" name="Gruppieren 184"/>
          <p:cNvGrpSpPr/>
          <p:nvPr/>
        </p:nvGrpSpPr>
        <p:grpSpPr>
          <a:xfrm>
            <a:off x="5344005" y="3879768"/>
            <a:ext cx="697111" cy="697111"/>
            <a:chOff x="3839266" y="4941168"/>
            <a:chExt cx="697111" cy="697111"/>
          </a:xfrm>
        </p:grpSpPr>
        <p:sp>
          <p:nvSpPr>
            <p:cNvPr id="186" name="Ellipse 185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7" name="Grafik 18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1170" y="5083072"/>
              <a:ext cx="413304" cy="413304"/>
            </a:xfrm>
            <a:prstGeom prst="rect">
              <a:avLst/>
            </a:prstGeom>
          </p:spPr>
        </p:pic>
      </p:grpSp>
      <p:grpSp>
        <p:nvGrpSpPr>
          <p:cNvPr id="200" name="Gruppieren 199"/>
          <p:cNvGrpSpPr/>
          <p:nvPr/>
        </p:nvGrpSpPr>
        <p:grpSpPr>
          <a:xfrm>
            <a:off x="3704005" y="3879768"/>
            <a:ext cx="697111" cy="697111"/>
            <a:chOff x="3839266" y="4005064"/>
            <a:chExt cx="697111" cy="697111"/>
          </a:xfrm>
        </p:grpSpPr>
        <p:sp>
          <p:nvSpPr>
            <p:cNvPr id="201" name="Ellipse 200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02" name="Grafik 20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3178" y="4138976"/>
              <a:ext cx="429288" cy="429288"/>
            </a:xfrm>
            <a:prstGeom prst="rect">
              <a:avLst/>
            </a:prstGeom>
          </p:spPr>
        </p:pic>
      </p:grpSp>
      <p:grpSp>
        <p:nvGrpSpPr>
          <p:cNvPr id="203" name="Gruppieren 202"/>
          <p:cNvGrpSpPr/>
          <p:nvPr/>
        </p:nvGrpSpPr>
        <p:grpSpPr>
          <a:xfrm>
            <a:off x="6984005" y="3879768"/>
            <a:ext cx="697111" cy="697111"/>
            <a:chOff x="5472132" y="4005064"/>
            <a:chExt cx="697111" cy="697111"/>
          </a:xfrm>
        </p:grpSpPr>
        <p:sp>
          <p:nvSpPr>
            <p:cNvPr id="204" name="Ellipse 203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05" name="Grafik 20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9444" y="4142376"/>
              <a:ext cx="422488" cy="422488"/>
            </a:xfrm>
            <a:prstGeom prst="rect">
              <a:avLst/>
            </a:prstGeom>
          </p:spPr>
        </p:pic>
      </p:grpSp>
      <p:grpSp>
        <p:nvGrpSpPr>
          <p:cNvPr id="206" name="Gruppieren 205"/>
          <p:cNvGrpSpPr/>
          <p:nvPr/>
        </p:nvGrpSpPr>
        <p:grpSpPr>
          <a:xfrm>
            <a:off x="8624005" y="3879768"/>
            <a:ext cx="697111" cy="697111"/>
            <a:chOff x="7104998" y="4005064"/>
            <a:chExt cx="697111" cy="697111"/>
          </a:xfrm>
        </p:grpSpPr>
        <p:sp>
          <p:nvSpPr>
            <p:cNvPr id="207" name="Ellipse 206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08" name="Grafik 20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3835" y="4163901"/>
              <a:ext cx="379438" cy="379438"/>
            </a:xfrm>
            <a:prstGeom prst="rect">
              <a:avLst/>
            </a:prstGeom>
          </p:spPr>
        </p:pic>
      </p:grpSp>
      <p:grpSp>
        <p:nvGrpSpPr>
          <p:cNvPr id="209" name="Gruppieren 208"/>
          <p:cNvGrpSpPr/>
          <p:nvPr/>
        </p:nvGrpSpPr>
        <p:grpSpPr>
          <a:xfrm>
            <a:off x="9444005" y="3879768"/>
            <a:ext cx="697111" cy="697111"/>
            <a:chOff x="7921427" y="4005064"/>
            <a:chExt cx="697111" cy="697111"/>
          </a:xfrm>
        </p:grpSpPr>
        <p:sp>
          <p:nvSpPr>
            <p:cNvPr id="210" name="Ellipse 209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11" name="Grafik 2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1872" y="4155509"/>
              <a:ext cx="396222" cy="396222"/>
            </a:xfrm>
            <a:prstGeom prst="rect">
              <a:avLst/>
            </a:prstGeom>
          </p:spPr>
        </p:pic>
      </p:grpSp>
      <p:grpSp>
        <p:nvGrpSpPr>
          <p:cNvPr id="212" name="Gruppieren 211"/>
          <p:cNvGrpSpPr/>
          <p:nvPr/>
        </p:nvGrpSpPr>
        <p:grpSpPr>
          <a:xfrm>
            <a:off x="2064005" y="3879768"/>
            <a:ext cx="697111" cy="697111"/>
            <a:chOff x="1389967" y="4005064"/>
            <a:chExt cx="697111" cy="697111"/>
          </a:xfrm>
        </p:grpSpPr>
        <p:sp>
          <p:nvSpPr>
            <p:cNvPr id="213" name="Ellipse 212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14" name="Grafik 2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8004" y="4113101"/>
              <a:ext cx="481038" cy="481038"/>
            </a:xfrm>
            <a:prstGeom prst="rect">
              <a:avLst/>
            </a:prstGeom>
          </p:spPr>
        </p:pic>
      </p:grpSp>
      <p:grpSp>
        <p:nvGrpSpPr>
          <p:cNvPr id="215" name="Gruppieren 214"/>
          <p:cNvGrpSpPr/>
          <p:nvPr/>
        </p:nvGrpSpPr>
        <p:grpSpPr>
          <a:xfrm>
            <a:off x="4524005" y="3879768"/>
            <a:ext cx="697111" cy="697111"/>
            <a:chOff x="3022833" y="4005064"/>
            <a:chExt cx="697111" cy="697111"/>
          </a:xfrm>
        </p:grpSpPr>
        <p:sp>
          <p:nvSpPr>
            <p:cNvPr id="216" name="Ellipse 215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17" name="Grafik 21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3203" y="4155434"/>
              <a:ext cx="396372" cy="396372"/>
            </a:xfrm>
            <a:prstGeom prst="rect">
              <a:avLst/>
            </a:prstGeom>
          </p:spPr>
        </p:pic>
      </p:grpSp>
      <p:grpSp>
        <p:nvGrpSpPr>
          <p:cNvPr id="218" name="Gruppieren 217"/>
          <p:cNvGrpSpPr/>
          <p:nvPr/>
        </p:nvGrpSpPr>
        <p:grpSpPr>
          <a:xfrm>
            <a:off x="6164005" y="3879768"/>
            <a:ext cx="697111" cy="697111"/>
            <a:chOff x="4655699" y="4005064"/>
            <a:chExt cx="697111" cy="697111"/>
          </a:xfrm>
        </p:grpSpPr>
        <p:sp>
          <p:nvSpPr>
            <p:cNvPr id="219" name="Ellipse 218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20" name="Grafik 21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6069" y="4155434"/>
              <a:ext cx="396372" cy="396372"/>
            </a:xfrm>
            <a:prstGeom prst="rect">
              <a:avLst/>
            </a:prstGeom>
          </p:spPr>
        </p:pic>
      </p:grpSp>
      <p:grpSp>
        <p:nvGrpSpPr>
          <p:cNvPr id="221" name="Gruppieren 220"/>
          <p:cNvGrpSpPr/>
          <p:nvPr/>
        </p:nvGrpSpPr>
        <p:grpSpPr>
          <a:xfrm>
            <a:off x="7804005" y="3879768"/>
            <a:ext cx="697111" cy="697111"/>
            <a:chOff x="6288565" y="4005064"/>
            <a:chExt cx="697111" cy="697111"/>
          </a:xfrm>
        </p:grpSpPr>
        <p:sp>
          <p:nvSpPr>
            <p:cNvPr id="222" name="Ellipse 221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23" name="Grafik 222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3077" y="4149576"/>
              <a:ext cx="408088" cy="408088"/>
            </a:xfrm>
            <a:prstGeom prst="rect">
              <a:avLst/>
            </a:prstGeom>
          </p:spPr>
        </p:pic>
      </p:grpSp>
      <p:grpSp>
        <p:nvGrpSpPr>
          <p:cNvPr id="230" name="Gruppieren 229"/>
          <p:cNvGrpSpPr/>
          <p:nvPr/>
        </p:nvGrpSpPr>
        <p:grpSpPr>
          <a:xfrm>
            <a:off x="2884005" y="3879768"/>
            <a:ext cx="697111" cy="697111"/>
            <a:chOff x="3839266" y="4941168"/>
            <a:chExt cx="697111" cy="697111"/>
          </a:xfrm>
        </p:grpSpPr>
        <p:sp>
          <p:nvSpPr>
            <p:cNvPr id="231" name="Ellipse 230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2" name="Grafik 23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158" name="Gruppieren 157"/>
          <p:cNvGrpSpPr/>
          <p:nvPr/>
        </p:nvGrpSpPr>
        <p:grpSpPr>
          <a:xfrm>
            <a:off x="3704005" y="3017799"/>
            <a:ext cx="697111" cy="697111"/>
            <a:chOff x="2206400" y="4005064"/>
            <a:chExt cx="697111" cy="697111"/>
          </a:xfrm>
        </p:grpSpPr>
        <p:sp>
          <p:nvSpPr>
            <p:cNvPr id="159" name="Ellipse 158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0" name="Grafik 159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1845" y="4130509"/>
              <a:ext cx="446222" cy="446222"/>
            </a:xfrm>
            <a:prstGeom prst="rect">
              <a:avLst/>
            </a:prstGeom>
          </p:spPr>
        </p:pic>
      </p:grpSp>
      <p:grpSp>
        <p:nvGrpSpPr>
          <p:cNvPr id="161" name="Gruppieren 160"/>
          <p:cNvGrpSpPr/>
          <p:nvPr/>
        </p:nvGrpSpPr>
        <p:grpSpPr>
          <a:xfrm>
            <a:off x="6164005" y="3017799"/>
            <a:ext cx="697111" cy="697111"/>
            <a:chOff x="7104998" y="2155825"/>
            <a:chExt cx="697111" cy="697111"/>
          </a:xfrm>
        </p:grpSpPr>
        <p:sp>
          <p:nvSpPr>
            <p:cNvPr id="162" name="Ellipse 161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3" name="Grafik 16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3737" y="2304564"/>
              <a:ext cx="399634" cy="399634"/>
            </a:xfrm>
            <a:prstGeom prst="rect">
              <a:avLst/>
            </a:prstGeom>
          </p:spPr>
        </p:pic>
      </p:grpSp>
      <p:grpSp>
        <p:nvGrpSpPr>
          <p:cNvPr id="164" name="Gruppieren 163"/>
          <p:cNvGrpSpPr/>
          <p:nvPr/>
        </p:nvGrpSpPr>
        <p:grpSpPr>
          <a:xfrm>
            <a:off x="6984005" y="3017799"/>
            <a:ext cx="697111" cy="697111"/>
            <a:chOff x="7921427" y="2155825"/>
            <a:chExt cx="697111" cy="697111"/>
          </a:xfrm>
        </p:grpSpPr>
        <p:sp>
          <p:nvSpPr>
            <p:cNvPr id="165" name="Ellipse 164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6" name="Grafik 165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739" y="2293137"/>
              <a:ext cx="422488" cy="422488"/>
            </a:xfrm>
            <a:prstGeom prst="rect">
              <a:avLst/>
            </a:prstGeom>
          </p:spPr>
        </p:pic>
      </p:grpSp>
      <p:grpSp>
        <p:nvGrpSpPr>
          <p:cNvPr id="173" name="Gruppieren 172"/>
          <p:cNvGrpSpPr/>
          <p:nvPr/>
        </p:nvGrpSpPr>
        <p:grpSpPr>
          <a:xfrm>
            <a:off x="5355005" y="3017799"/>
            <a:ext cx="697111" cy="697111"/>
            <a:chOff x="573534" y="4005064"/>
            <a:chExt cx="697111" cy="697111"/>
          </a:xfrm>
        </p:grpSpPr>
        <p:sp>
          <p:nvSpPr>
            <p:cNvPr id="174" name="Ellipse 173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5" name="Grafik 174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379" y="4155909"/>
              <a:ext cx="395422" cy="395422"/>
            </a:xfrm>
            <a:prstGeom prst="rect">
              <a:avLst/>
            </a:prstGeom>
          </p:spPr>
        </p:pic>
      </p:grpSp>
      <p:grpSp>
        <p:nvGrpSpPr>
          <p:cNvPr id="176" name="Gruppieren 175"/>
          <p:cNvGrpSpPr/>
          <p:nvPr/>
        </p:nvGrpSpPr>
        <p:grpSpPr>
          <a:xfrm>
            <a:off x="8624005" y="3017799"/>
            <a:ext cx="697111" cy="697111"/>
            <a:chOff x="7104998" y="4005064"/>
            <a:chExt cx="697111" cy="697111"/>
          </a:xfrm>
        </p:grpSpPr>
        <p:sp>
          <p:nvSpPr>
            <p:cNvPr id="177" name="Ellipse 176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8" name="Grafik 177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9777" y="4139843"/>
              <a:ext cx="427554" cy="427554"/>
            </a:xfrm>
            <a:prstGeom prst="rect">
              <a:avLst/>
            </a:prstGeom>
          </p:spPr>
        </p:pic>
      </p:grpSp>
      <p:grpSp>
        <p:nvGrpSpPr>
          <p:cNvPr id="179" name="Gruppieren 178"/>
          <p:cNvGrpSpPr/>
          <p:nvPr/>
        </p:nvGrpSpPr>
        <p:grpSpPr>
          <a:xfrm>
            <a:off x="7804005" y="3017799"/>
            <a:ext cx="697111" cy="697111"/>
            <a:chOff x="6288565" y="4005064"/>
            <a:chExt cx="697111" cy="697111"/>
          </a:xfrm>
        </p:grpSpPr>
        <p:sp>
          <p:nvSpPr>
            <p:cNvPr id="180" name="Ellipse 179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1" name="Grafik 180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5771" y="4162270"/>
              <a:ext cx="382700" cy="382700"/>
            </a:xfrm>
            <a:prstGeom prst="rect">
              <a:avLst/>
            </a:prstGeom>
          </p:spPr>
        </p:pic>
      </p:grpSp>
      <p:grpSp>
        <p:nvGrpSpPr>
          <p:cNvPr id="182" name="Gruppieren 181"/>
          <p:cNvGrpSpPr/>
          <p:nvPr/>
        </p:nvGrpSpPr>
        <p:grpSpPr>
          <a:xfrm>
            <a:off x="9444005" y="3017799"/>
            <a:ext cx="697111" cy="697111"/>
            <a:chOff x="2206400" y="4941168"/>
            <a:chExt cx="697111" cy="697111"/>
          </a:xfrm>
        </p:grpSpPr>
        <p:sp>
          <p:nvSpPr>
            <p:cNvPr id="183" name="Ellipse 182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4" name="Grafik 183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2979" y="5057747"/>
              <a:ext cx="463954" cy="463954"/>
            </a:xfrm>
            <a:prstGeom prst="rect">
              <a:avLst/>
            </a:prstGeom>
          </p:spPr>
        </p:pic>
      </p:grpSp>
      <p:grpSp>
        <p:nvGrpSpPr>
          <p:cNvPr id="197" name="Gruppieren 196"/>
          <p:cNvGrpSpPr/>
          <p:nvPr/>
        </p:nvGrpSpPr>
        <p:grpSpPr>
          <a:xfrm>
            <a:off x="2884005" y="3017799"/>
            <a:ext cx="697111" cy="697111"/>
            <a:chOff x="573534" y="4005064"/>
            <a:chExt cx="697111" cy="697111"/>
          </a:xfrm>
        </p:grpSpPr>
        <p:sp>
          <p:nvSpPr>
            <p:cNvPr id="198" name="Ellipse 197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9" name="Grafik 198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713" y="4140243"/>
              <a:ext cx="426754" cy="426754"/>
            </a:xfrm>
            <a:prstGeom prst="rect">
              <a:avLst/>
            </a:prstGeom>
          </p:spPr>
        </p:pic>
      </p:grpSp>
      <p:grpSp>
        <p:nvGrpSpPr>
          <p:cNvPr id="239" name="Gruppieren 238"/>
          <p:cNvGrpSpPr/>
          <p:nvPr/>
        </p:nvGrpSpPr>
        <p:grpSpPr>
          <a:xfrm>
            <a:off x="4524005" y="3017799"/>
            <a:ext cx="697111" cy="697111"/>
            <a:chOff x="3022833" y="4941168"/>
            <a:chExt cx="697111" cy="697111"/>
          </a:xfrm>
        </p:grpSpPr>
        <p:sp>
          <p:nvSpPr>
            <p:cNvPr id="240" name="Ellipse 239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1" name="Grafik 240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3945" y="5082280"/>
              <a:ext cx="414888" cy="414888"/>
            </a:xfrm>
            <a:prstGeom prst="rect">
              <a:avLst/>
            </a:prstGeom>
          </p:spPr>
        </p:pic>
      </p:grpSp>
      <p:grpSp>
        <p:nvGrpSpPr>
          <p:cNvPr id="248" name="Gruppieren 247"/>
          <p:cNvGrpSpPr/>
          <p:nvPr/>
        </p:nvGrpSpPr>
        <p:grpSpPr>
          <a:xfrm>
            <a:off x="2064005" y="3017799"/>
            <a:ext cx="697111" cy="697111"/>
            <a:chOff x="7921427" y="4941168"/>
            <a:chExt cx="697111" cy="697111"/>
          </a:xfrm>
        </p:grpSpPr>
        <p:sp>
          <p:nvSpPr>
            <p:cNvPr id="249" name="Ellipse 248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50" name="Grafik 249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0166" y="5089907"/>
              <a:ext cx="399634" cy="399634"/>
            </a:xfrm>
            <a:prstGeom prst="rect">
              <a:avLst/>
            </a:prstGeom>
          </p:spPr>
        </p:pic>
      </p:grpSp>
      <p:grpSp>
        <p:nvGrpSpPr>
          <p:cNvPr id="155" name="Gruppieren 154"/>
          <p:cNvGrpSpPr/>
          <p:nvPr/>
        </p:nvGrpSpPr>
        <p:grpSpPr>
          <a:xfrm>
            <a:off x="3704005" y="2155830"/>
            <a:ext cx="697111" cy="697111"/>
            <a:chOff x="4655699" y="2155825"/>
            <a:chExt cx="697111" cy="697111"/>
          </a:xfrm>
        </p:grpSpPr>
        <p:sp>
          <p:nvSpPr>
            <p:cNvPr id="156" name="Ellipse 155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7" name="Grafik 156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341" y="2294467"/>
              <a:ext cx="419828" cy="419828"/>
            </a:xfrm>
            <a:prstGeom prst="rect">
              <a:avLst/>
            </a:prstGeom>
          </p:spPr>
        </p:pic>
      </p:grpSp>
      <p:grpSp>
        <p:nvGrpSpPr>
          <p:cNvPr id="167" name="Gruppieren 166"/>
          <p:cNvGrpSpPr/>
          <p:nvPr/>
        </p:nvGrpSpPr>
        <p:grpSpPr>
          <a:xfrm>
            <a:off x="2064005" y="2155830"/>
            <a:ext cx="697111" cy="697111"/>
            <a:chOff x="573534" y="3068960"/>
            <a:chExt cx="697111" cy="697111"/>
          </a:xfrm>
        </p:grpSpPr>
        <p:sp>
          <p:nvSpPr>
            <p:cNvPr id="168" name="Ellipse 167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9" name="Grafik 168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046" y="3188472"/>
              <a:ext cx="458088" cy="458088"/>
            </a:xfrm>
            <a:prstGeom prst="rect">
              <a:avLst/>
            </a:prstGeom>
          </p:spPr>
        </p:pic>
      </p:grpSp>
      <p:grpSp>
        <p:nvGrpSpPr>
          <p:cNvPr id="170" name="Gruppieren 169"/>
          <p:cNvGrpSpPr/>
          <p:nvPr/>
        </p:nvGrpSpPr>
        <p:grpSpPr>
          <a:xfrm>
            <a:off x="2884005" y="2155830"/>
            <a:ext cx="697111" cy="697111"/>
            <a:chOff x="1389967" y="3068960"/>
            <a:chExt cx="697111" cy="697111"/>
          </a:xfrm>
        </p:grpSpPr>
        <p:sp>
          <p:nvSpPr>
            <p:cNvPr id="171" name="Ellipse 170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2" name="Grafik 171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8212" y="3187205"/>
              <a:ext cx="460622" cy="460622"/>
            </a:xfrm>
            <a:prstGeom prst="rect">
              <a:avLst/>
            </a:prstGeom>
          </p:spPr>
        </p:pic>
      </p:grpSp>
      <p:grpSp>
        <p:nvGrpSpPr>
          <p:cNvPr id="188" name="Gruppieren 187"/>
          <p:cNvGrpSpPr/>
          <p:nvPr/>
        </p:nvGrpSpPr>
        <p:grpSpPr>
          <a:xfrm>
            <a:off x="5344005" y="2155830"/>
            <a:ext cx="697111" cy="697111"/>
            <a:chOff x="3839266" y="2155825"/>
            <a:chExt cx="697111" cy="697111"/>
          </a:xfrm>
        </p:grpSpPr>
        <p:sp>
          <p:nvSpPr>
            <p:cNvPr id="189" name="Ellipse 188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0" name="Grafik 189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6045" y="2312604"/>
              <a:ext cx="383554" cy="383554"/>
            </a:xfrm>
            <a:prstGeom prst="rect">
              <a:avLst/>
            </a:prstGeom>
          </p:spPr>
        </p:pic>
      </p:grpSp>
      <p:grpSp>
        <p:nvGrpSpPr>
          <p:cNvPr id="191" name="Gruppieren 190"/>
          <p:cNvGrpSpPr/>
          <p:nvPr/>
        </p:nvGrpSpPr>
        <p:grpSpPr>
          <a:xfrm>
            <a:off x="4524005" y="2155830"/>
            <a:ext cx="697111" cy="697111"/>
            <a:chOff x="3022833" y="2155825"/>
            <a:chExt cx="697111" cy="697111"/>
          </a:xfrm>
        </p:grpSpPr>
        <p:sp>
          <p:nvSpPr>
            <p:cNvPr id="192" name="Ellipse 191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3" name="Grafik 192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5478" y="2288470"/>
              <a:ext cx="431822" cy="431822"/>
            </a:xfrm>
            <a:prstGeom prst="rect">
              <a:avLst/>
            </a:prstGeom>
          </p:spPr>
        </p:pic>
      </p:grpSp>
      <p:grpSp>
        <p:nvGrpSpPr>
          <p:cNvPr id="194" name="Gruppieren 193"/>
          <p:cNvGrpSpPr/>
          <p:nvPr/>
        </p:nvGrpSpPr>
        <p:grpSpPr>
          <a:xfrm>
            <a:off x="6164005" y="2155830"/>
            <a:ext cx="697111" cy="697111"/>
            <a:chOff x="4655699" y="2155825"/>
            <a:chExt cx="697111" cy="697111"/>
          </a:xfrm>
        </p:grpSpPr>
        <p:sp>
          <p:nvSpPr>
            <p:cNvPr id="195" name="Ellipse 194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6" name="Grafik 195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278" y="2294404"/>
              <a:ext cx="419954" cy="419954"/>
            </a:xfrm>
            <a:prstGeom prst="rect">
              <a:avLst/>
            </a:prstGeom>
          </p:spPr>
        </p:pic>
      </p:grpSp>
      <p:grpSp>
        <p:nvGrpSpPr>
          <p:cNvPr id="242" name="Gruppieren 241"/>
          <p:cNvGrpSpPr/>
          <p:nvPr/>
        </p:nvGrpSpPr>
        <p:grpSpPr>
          <a:xfrm>
            <a:off x="7804005" y="2155830"/>
            <a:ext cx="697111" cy="697111"/>
            <a:chOff x="5472132" y="4941168"/>
            <a:chExt cx="697111" cy="697111"/>
          </a:xfrm>
        </p:grpSpPr>
        <p:sp>
          <p:nvSpPr>
            <p:cNvPr id="243" name="Ellipse 242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44" name="Grafik 243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711" y="5068747"/>
              <a:ext cx="441954" cy="441954"/>
            </a:xfrm>
            <a:prstGeom prst="rect">
              <a:avLst/>
            </a:prstGeom>
          </p:spPr>
        </p:pic>
      </p:grpSp>
      <p:grpSp>
        <p:nvGrpSpPr>
          <p:cNvPr id="245" name="Gruppieren 244"/>
          <p:cNvGrpSpPr/>
          <p:nvPr/>
        </p:nvGrpSpPr>
        <p:grpSpPr>
          <a:xfrm>
            <a:off x="9444005" y="2155830"/>
            <a:ext cx="697111" cy="697111"/>
            <a:chOff x="7104998" y="4941168"/>
            <a:chExt cx="697111" cy="697111"/>
          </a:xfrm>
        </p:grpSpPr>
        <p:sp>
          <p:nvSpPr>
            <p:cNvPr id="246" name="Ellipse 245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47" name="Grafik 246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2106" y="5088276"/>
              <a:ext cx="402896" cy="402896"/>
            </a:xfrm>
            <a:prstGeom prst="rect">
              <a:avLst/>
            </a:prstGeom>
          </p:spPr>
        </p:pic>
      </p:grpSp>
      <p:grpSp>
        <p:nvGrpSpPr>
          <p:cNvPr id="251" name="Gruppieren 250"/>
          <p:cNvGrpSpPr/>
          <p:nvPr/>
        </p:nvGrpSpPr>
        <p:grpSpPr>
          <a:xfrm>
            <a:off x="6984005" y="2155830"/>
            <a:ext cx="697111" cy="697111"/>
            <a:chOff x="4655699" y="4941168"/>
            <a:chExt cx="697111" cy="697111"/>
          </a:xfrm>
        </p:grpSpPr>
        <p:sp>
          <p:nvSpPr>
            <p:cNvPr id="252" name="Ellipse 251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3" name="Grafik 252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3011" y="5078480"/>
              <a:ext cx="422488" cy="422488"/>
            </a:xfrm>
            <a:prstGeom prst="rect">
              <a:avLst/>
            </a:prstGeom>
          </p:spPr>
        </p:pic>
      </p:grpSp>
      <p:grpSp>
        <p:nvGrpSpPr>
          <p:cNvPr id="254" name="Gruppieren 253"/>
          <p:cNvGrpSpPr/>
          <p:nvPr/>
        </p:nvGrpSpPr>
        <p:grpSpPr>
          <a:xfrm>
            <a:off x="8624005" y="2155830"/>
            <a:ext cx="697111" cy="697111"/>
            <a:chOff x="6288565" y="4941168"/>
            <a:chExt cx="697111" cy="697111"/>
          </a:xfrm>
        </p:grpSpPr>
        <p:sp>
          <p:nvSpPr>
            <p:cNvPr id="255" name="Ellipse 254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56" name="Grafik 255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3344" y="5075947"/>
              <a:ext cx="427554" cy="427554"/>
            </a:xfrm>
            <a:prstGeom prst="rect">
              <a:avLst/>
            </a:prstGeom>
          </p:spPr>
        </p:pic>
      </p:grpSp>
      <p:grpSp>
        <p:nvGrpSpPr>
          <p:cNvPr id="287" name="Gruppieren 286"/>
          <p:cNvGrpSpPr/>
          <p:nvPr/>
        </p:nvGrpSpPr>
        <p:grpSpPr>
          <a:xfrm>
            <a:off x="3704005" y="5603708"/>
            <a:ext cx="697111" cy="697111"/>
            <a:chOff x="6288565" y="2155825"/>
            <a:chExt cx="697111" cy="697111"/>
          </a:xfrm>
        </p:grpSpPr>
        <p:sp>
          <p:nvSpPr>
            <p:cNvPr id="288" name="Ellipse 287"/>
            <p:cNvSpPr/>
            <p:nvPr/>
          </p:nvSpPr>
          <p:spPr>
            <a:xfrm>
              <a:off x="6288565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9" name="Grafik 288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0944" y="2298204"/>
              <a:ext cx="412354" cy="412354"/>
            </a:xfrm>
            <a:prstGeom prst="rect">
              <a:avLst/>
            </a:prstGeom>
          </p:spPr>
        </p:pic>
      </p:grpSp>
      <p:grpSp>
        <p:nvGrpSpPr>
          <p:cNvPr id="290" name="Gruppieren 289"/>
          <p:cNvGrpSpPr/>
          <p:nvPr/>
        </p:nvGrpSpPr>
        <p:grpSpPr>
          <a:xfrm>
            <a:off x="2884005" y="5603708"/>
            <a:ext cx="697111" cy="697111"/>
            <a:chOff x="573534" y="2155825"/>
            <a:chExt cx="697111" cy="697111"/>
          </a:xfrm>
        </p:grpSpPr>
        <p:sp>
          <p:nvSpPr>
            <p:cNvPr id="291" name="Ellipse 290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2" name="Grafik 291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50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93" name="Gruppieren 292"/>
          <p:cNvGrpSpPr/>
          <p:nvPr/>
        </p:nvGrpSpPr>
        <p:grpSpPr>
          <a:xfrm>
            <a:off x="4524005" y="5603708"/>
            <a:ext cx="697111" cy="697111"/>
            <a:chOff x="5472132" y="3068960"/>
            <a:chExt cx="697111" cy="697111"/>
          </a:xfrm>
        </p:grpSpPr>
        <p:sp>
          <p:nvSpPr>
            <p:cNvPr id="294" name="Ellipse 293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95" name="Grafik 294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0177" y="3227005"/>
              <a:ext cx="381022" cy="381022"/>
            </a:xfrm>
            <a:prstGeom prst="rect">
              <a:avLst/>
            </a:prstGeom>
          </p:spPr>
        </p:pic>
      </p:grpSp>
      <p:grpSp>
        <p:nvGrpSpPr>
          <p:cNvPr id="135" name="Gruppieren 134"/>
          <p:cNvGrpSpPr/>
          <p:nvPr/>
        </p:nvGrpSpPr>
        <p:grpSpPr>
          <a:xfrm>
            <a:off x="5344005" y="5603708"/>
            <a:ext cx="697111" cy="697111"/>
            <a:chOff x="5472132" y="2155825"/>
            <a:chExt cx="697111" cy="697111"/>
          </a:xfrm>
        </p:grpSpPr>
        <p:sp>
          <p:nvSpPr>
            <p:cNvPr id="136" name="Ellipse 135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7" name="Grafik 136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38" name="Gruppieren 137"/>
          <p:cNvGrpSpPr/>
          <p:nvPr/>
        </p:nvGrpSpPr>
        <p:grpSpPr>
          <a:xfrm>
            <a:off x="6164005" y="5603708"/>
            <a:ext cx="697111" cy="697111"/>
            <a:chOff x="6288565" y="2155825"/>
            <a:chExt cx="697111" cy="697111"/>
          </a:xfrm>
        </p:grpSpPr>
        <p:sp>
          <p:nvSpPr>
            <p:cNvPr id="139" name="Ellipse 138"/>
            <p:cNvSpPr/>
            <p:nvPr/>
          </p:nvSpPr>
          <p:spPr>
            <a:xfrm>
              <a:off x="6288565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0" name="Grafik 139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41" name="Gruppieren 140"/>
          <p:cNvGrpSpPr/>
          <p:nvPr/>
        </p:nvGrpSpPr>
        <p:grpSpPr>
          <a:xfrm>
            <a:off x="9444005" y="5603708"/>
            <a:ext cx="697111" cy="697111"/>
            <a:chOff x="3839266" y="2155825"/>
            <a:chExt cx="697111" cy="697111"/>
          </a:xfrm>
        </p:grpSpPr>
        <p:sp>
          <p:nvSpPr>
            <p:cNvPr id="142" name="Ellipse 141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3" name="Grafik 142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9711" y="2306270"/>
              <a:ext cx="396222" cy="396222"/>
            </a:xfrm>
            <a:prstGeom prst="rect">
              <a:avLst/>
            </a:prstGeom>
          </p:spPr>
        </p:pic>
      </p:grpSp>
      <p:grpSp>
        <p:nvGrpSpPr>
          <p:cNvPr id="144" name="Gruppieren 143"/>
          <p:cNvGrpSpPr/>
          <p:nvPr/>
        </p:nvGrpSpPr>
        <p:grpSpPr>
          <a:xfrm>
            <a:off x="8624005" y="5603708"/>
            <a:ext cx="697111" cy="697111"/>
            <a:chOff x="3022833" y="2155825"/>
            <a:chExt cx="697111" cy="697111"/>
          </a:xfrm>
        </p:grpSpPr>
        <p:sp>
          <p:nvSpPr>
            <p:cNvPr id="145" name="Ellipse 144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6" name="Grafik 145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7612" y="2290604"/>
              <a:ext cx="427554" cy="427554"/>
            </a:xfrm>
            <a:prstGeom prst="rect">
              <a:avLst/>
            </a:prstGeom>
          </p:spPr>
        </p:pic>
      </p:grpSp>
      <p:grpSp>
        <p:nvGrpSpPr>
          <p:cNvPr id="147" name="Gruppieren 146"/>
          <p:cNvGrpSpPr/>
          <p:nvPr/>
        </p:nvGrpSpPr>
        <p:grpSpPr>
          <a:xfrm>
            <a:off x="7804005" y="5603708"/>
            <a:ext cx="697111" cy="697111"/>
            <a:chOff x="3839266" y="3068960"/>
            <a:chExt cx="697111" cy="697111"/>
          </a:xfrm>
        </p:grpSpPr>
        <p:sp>
          <p:nvSpPr>
            <p:cNvPr id="148" name="Ellipse 147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9" name="Grafik 148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7646" y="3205005"/>
              <a:ext cx="391154" cy="391154"/>
            </a:xfrm>
            <a:prstGeom prst="rect">
              <a:avLst/>
            </a:prstGeom>
          </p:spPr>
        </p:pic>
      </p:grpSp>
      <p:grpSp>
        <p:nvGrpSpPr>
          <p:cNvPr id="150" name="Gruppieren 149"/>
          <p:cNvGrpSpPr/>
          <p:nvPr/>
        </p:nvGrpSpPr>
        <p:grpSpPr>
          <a:xfrm>
            <a:off x="6984005" y="5603708"/>
            <a:ext cx="697111" cy="697111"/>
            <a:chOff x="3022833" y="3068960"/>
            <a:chExt cx="697111" cy="697111"/>
          </a:xfrm>
        </p:grpSpPr>
        <p:sp>
          <p:nvSpPr>
            <p:cNvPr id="151" name="Ellipse 150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2" name="Grafik 151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4012" y="3240139"/>
              <a:ext cx="354754" cy="354754"/>
            </a:xfrm>
            <a:prstGeom prst="rect">
              <a:avLst/>
            </a:prstGeom>
          </p:spPr>
        </p:pic>
      </p:grpSp>
      <p:grpSp>
        <p:nvGrpSpPr>
          <p:cNvPr id="224" name="Gruppieren 223"/>
          <p:cNvGrpSpPr/>
          <p:nvPr/>
        </p:nvGrpSpPr>
        <p:grpSpPr>
          <a:xfrm>
            <a:off x="2064005" y="4741737"/>
            <a:ext cx="697111" cy="697111"/>
            <a:chOff x="573534" y="4941168"/>
            <a:chExt cx="697111" cy="697111"/>
          </a:xfrm>
        </p:grpSpPr>
        <p:sp>
          <p:nvSpPr>
            <p:cNvPr id="225" name="Ellipse 224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26" name="Grafik 225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069" y="5084703"/>
              <a:ext cx="410042" cy="410042"/>
            </a:xfrm>
            <a:prstGeom prst="rect">
              <a:avLst/>
            </a:prstGeom>
          </p:spPr>
        </p:pic>
      </p:grpSp>
      <p:grpSp>
        <p:nvGrpSpPr>
          <p:cNvPr id="227" name="Gruppieren 226"/>
          <p:cNvGrpSpPr/>
          <p:nvPr/>
        </p:nvGrpSpPr>
        <p:grpSpPr>
          <a:xfrm>
            <a:off x="3704005" y="4741737"/>
            <a:ext cx="697111" cy="697111"/>
            <a:chOff x="2206400" y="4941168"/>
            <a:chExt cx="697111" cy="697111"/>
          </a:xfrm>
        </p:grpSpPr>
        <p:sp>
          <p:nvSpPr>
            <p:cNvPr id="228" name="Ellipse 227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9" name="Grafik 228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8779" y="5083547"/>
              <a:ext cx="412354" cy="412354"/>
            </a:xfrm>
            <a:prstGeom prst="rect">
              <a:avLst/>
            </a:prstGeom>
          </p:spPr>
        </p:pic>
      </p:grpSp>
      <p:grpSp>
        <p:nvGrpSpPr>
          <p:cNvPr id="233" name="Gruppieren 232"/>
          <p:cNvGrpSpPr/>
          <p:nvPr/>
        </p:nvGrpSpPr>
        <p:grpSpPr>
          <a:xfrm>
            <a:off x="2884005" y="4741737"/>
            <a:ext cx="697111" cy="697111"/>
            <a:chOff x="1389967" y="4941168"/>
            <a:chExt cx="697111" cy="697111"/>
          </a:xfrm>
        </p:grpSpPr>
        <p:sp>
          <p:nvSpPr>
            <p:cNvPr id="234" name="Ellipse 233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235" name="Grafik 234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5146" y="5076347"/>
              <a:ext cx="426754" cy="426754"/>
            </a:xfrm>
            <a:prstGeom prst="rect">
              <a:avLst/>
            </a:prstGeom>
          </p:spPr>
        </p:pic>
      </p:grpSp>
      <p:grpSp>
        <p:nvGrpSpPr>
          <p:cNvPr id="236" name="Gruppieren 235"/>
          <p:cNvGrpSpPr/>
          <p:nvPr/>
        </p:nvGrpSpPr>
        <p:grpSpPr>
          <a:xfrm>
            <a:off x="4524005" y="4741737"/>
            <a:ext cx="697111" cy="697111"/>
            <a:chOff x="3022833" y="4941168"/>
            <a:chExt cx="697111" cy="697111"/>
          </a:xfrm>
        </p:grpSpPr>
        <p:sp>
          <p:nvSpPr>
            <p:cNvPr id="237" name="Ellipse 236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8" name="Grafik 237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3945" y="5082280"/>
              <a:ext cx="414888" cy="414888"/>
            </a:xfrm>
            <a:prstGeom prst="rect">
              <a:avLst/>
            </a:prstGeom>
          </p:spPr>
        </p:pic>
      </p:grpSp>
      <p:grpSp>
        <p:nvGrpSpPr>
          <p:cNvPr id="257" name="Gruppieren 256"/>
          <p:cNvGrpSpPr/>
          <p:nvPr/>
        </p:nvGrpSpPr>
        <p:grpSpPr>
          <a:xfrm>
            <a:off x="5344005" y="4741737"/>
            <a:ext cx="697111" cy="697111"/>
            <a:chOff x="5472132" y="4941168"/>
            <a:chExt cx="697111" cy="697111"/>
          </a:xfrm>
        </p:grpSpPr>
        <p:sp>
          <p:nvSpPr>
            <p:cNvPr id="258" name="Ellipse 257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9" name="Grafik 258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0445" y="5064080"/>
              <a:ext cx="434354" cy="434354"/>
            </a:xfrm>
            <a:prstGeom prst="rect">
              <a:avLst/>
            </a:prstGeom>
          </p:spPr>
        </p:pic>
      </p:grpSp>
      <p:grpSp>
        <p:nvGrpSpPr>
          <p:cNvPr id="260" name="Gruppieren 259"/>
          <p:cNvGrpSpPr/>
          <p:nvPr/>
        </p:nvGrpSpPr>
        <p:grpSpPr>
          <a:xfrm>
            <a:off x="6984005" y="4741737"/>
            <a:ext cx="697111" cy="697111"/>
            <a:chOff x="7104998" y="4941168"/>
            <a:chExt cx="697111" cy="697111"/>
          </a:xfrm>
        </p:grpSpPr>
        <p:sp>
          <p:nvSpPr>
            <p:cNvPr id="261" name="Ellipse 260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2" name="Grafik 261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0778" y="5061547"/>
              <a:ext cx="439420" cy="439420"/>
            </a:xfrm>
            <a:prstGeom prst="rect">
              <a:avLst/>
            </a:prstGeom>
          </p:spPr>
        </p:pic>
      </p:grpSp>
      <p:grpSp>
        <p:nvGrpSpPr>
          <p:cNvPr id="263" name="Gruppieren 262"/>
          <p:cNvGrpSpPr/>
          <p:nvPr/>
        </p:nvGrpSpPr>
        <p:grpSpPr>
          <a:xfrm>
            <a:off x="7804005" y="4741737"/>
            <a:ext cx="697111" cy="697111"/>
            <a:chOff x="7921427" y="4941168"/>
            <a:chExt cx="697111" cy="697111"/>
          </a:xfrm>
        </p:grpSpPr>
        <p:sp>
          <p:nvSpPr>
            <p:cNvPr id="264" name="Ellipse 263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5" name="Grafik 264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4407" y="5068747"/>
              <a:ext cx="425020" cy="425020"/>
            </a:xfrm>
            <a:prstGeom prst="rect">
              <a:avLst/>
            </a:prstGeom>
          </p:spPr>
        </p:pic>
      </p:grpSp>
      <p:grpSp>
        <p:nvGrpSpPr>
          <p:cNvPr id="266" name="Gruppieren 265"/>
          <p:cNvGrpSpPr/>
          <p:nvPr/>
        </p:nvGrpSpPr>
        <p:grpSpPr>
          <a:xfrm>
            <a:off x="6164005" y="4741737"/>
            <a:ext cx="697111" cy="697111"/>
            <a:chOff x="6288565" y="4941168"/>
            <a:chExt cx="697111" cy="697111"/>
          </a:xfrm>
        </p:grpSpPr>
        <p:sp>
          <p:nvSpPr>
            <p:cNvPr id="267" name="Ellipse 266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8" name="Grafik 267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5612" y="5062814"/>
              <a:ext cx="436886" cy="436886"/>
            </a:xfrm>
            <a:prstGeom prst="rect">
              <a:avLst/>
            </a:prstGeom>
          </p:spPr>
        </p:pic>
      </p:grpSp>
      <p:grpSp>
        <p:nvGrpSpPr>
          <p:cNvPr id="269" name="Gruppieren 268"/>
          <p:cNvGrpSpPr/>
          <p:nvPr/>
        </p:nvGrpSpPr>
        <p:grpSpPr>
          <a:xfrm>
            <a:off x="8624005" y="4741737"/>
            <a:ext cx="697111" cy="697111"/>
            <a:chOff x="5472132" y="4941168"/>
            <a:chExt cx="697111" cy="697111"/>
          </a:xfrm>
        </p:grpSpPr>
        <p:sp>
          <p:nvSpPr>
            <p:cNvPr id="270" name="Ellipse 269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1" name="Grafik 270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3500000">
              <a:off x="5584448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/>
          <p:nvPr/>
        </p:nvGrpSpPr>
        <p:grpSpPr>
          <a:xfrm>
            <a:off x="9444005" y="4741737"/>
            <a:ext cx="697111" cy="697111"/>
            <a:chOff x="5472132" y="4005064"/>
            <a:chExt cx="697111" cy="697111"/>
          </a:xfrm>
        </p:grpSpPr>
        <p:sp>
          <p:nvSpPr>
            <p:cNvPr id="154" name="Ellipse 153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2" name="Grafik 271"/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2577" y="4147042"/>
              <a:ext cx="396222" cy="396222"/>
            </a:xfrm>
            <a:prstGeom prst="rect">
              <a:avLst/>
            </a:prstGeom>
          </p:spPr>
        </p:pic>
      </p:grpSp>
      <p:grpSp>
        <p:nvGrpSpPr>
          <p:cNvPr id="299" name="Gruppieren 298"/>
          <p:cNvGrpSpPr/>
          <p:nvPr/>
        </p:nvGrpSpPr>
        <p:grpSpPr>
          <a:xfrm>
            <a:off x="2069434" y="5602844"/>
            <a:ext cx="697111" cy="697111"/>
            <a:chOff x="4655699" y="4941168"/>
            <a:chExt cx="697111" cy="697111"/>
          </a:xfrm>
        </p:grpSpPr>
        <p:sp>
          <p:nvSpPr>
            <p:cNvPr id="300" name="Ellipse 299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1" name="Grafik 300"/>
            <p:cNvPicPr>
              <a:picLocks noChangeAspect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0355" y="5074291"/>
              <a:ext cx="447800" cy="447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72411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53"/>
          <p:cNvGrpSpPr>
            <a:grpSpLocks/>
          </p:cNvGrpSpPr>
          <p:nvPr/>
        </p:nvGrpSpPr>
        <p:grpSpPr bwMode="auto">
          <a:xfrm>
            <a:off x="2217865" y="2564904"/>
            <a:ext cx="7756779" cy="3393850"/>
            <a:chOff x="136" y="1462"/>
            <a:chExt cx="5563" cy="2434"/>
          </a:xfrm>
        </p:grpSpPr>
        <p:sp>
          <p:nvSpPr>
            <p:cNvPr id="24" name="SMCShape07" descr="SMCShape07"/>
            <p:cNvSpPr>
              <a:spLocks noChangeArrowheads="1"/>
            </p:cNvSpPr>
            <p:nvPr/>
          </p:nvSpPr>
          <p:spPr bwMode="gray">
            <a:xfrm>
              <a:off x="136" y="1736"/>
              <a:ext cx="4341" cy="9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80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5" name="SMCShape07" descr="SMCShape07"/>
            <p:cNvSpPr>
              <a:spLocks noChangeArrowheads="1"/>
            </p:cNvSpPr>
            <p:nvPr/>
          </p:nvSpPr>
          <p:spPr bwMode="gray">
            <a:xfrm>
              <a:off x="136" y="2964"/>
              <a:ext cx="4341" cy="9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80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  <a:p>
              <a:r>
                <a:rPr lang="de-DE" altLang="de-DE" sz="120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6" name="Rectangle 20"/>
            <p:cNvSpPr>
              <a:spLocks noChangeArrowheads="1"/>
            </p:cNvSpPr>
            <p:nvPr/>
          </p:nvSpPr>
          <p:spPr bwMode="gray">
            <a:xfrm>
              <a:off x="136" y="1462"/>
              <a:ext cx="4341" cy="27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rIns="126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1</a:t>
              </a: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136" y="2694"/>
              <a:ext cx="3990" cy="27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rIns="126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2</a:t>
              </a: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gray">
            <a:xfrm>
              <a:off x="3283" y="1468"/>
              <a:ext cx="1194" cy="1200"/>
            </a:xfrm>
            <a:custGeom>
              <a:avLst/>
              <a:gdLst>
                <a:gd name="T0" fmla="*/ 0 w 918"/>
                <a:gd name="T1" fmla="*/ 1725 h 918"/>
                <a:gd name="T2" fmla="*/ 1142 w 918"/>
                <a:gd name="T3" fmla="*/ 1725 h 918"/>
                <a:gd name="T4" fmla="*/ 1725 w 918"/>
                <a:gd name="T5" fmla="*/ 1142 h 918"/>
                <a:gd name="T6" fmla="*/ 1725 w 918"/>
                <a:gd name="T7" fmla="*/ 0 h 918"/>
                <a:gd name="T8" fmla="*/ 0 w 918"/>
                <a:gd name="T9" fmla="*/ 1725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8"/>
                <a:gd name="T16" fmla="*/ 0 h 918"/>
                <a:gd name="T17" fmla="*/ 918 w 918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8" h="918">
                  <a:moveTo>
                    <a:pt x="0" y="918"/>
                  </a:moveTo>
                  <a:cubicBezTo>
                    <a:pt x="608" y="918"/>
                    <a:pt x="608" y="918"/>
                    <a:pt x="608" y="918"/>
                  </a:cubicBezTo>
                  <a:cubicBezTo>
                    <a:pt x="616" y="751"/>
                    <a:pt x="750" y="616"/>
                    <a:pt x="918" y="608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415" y="9"/>
                    <a:pt x="8" y="415"/>
                    <a:pt x="0" y="91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29" name="Rectangle 10" descr="loz fill green"/>
            <p:cNvSpPr>
              <a:spLocks noChangeArrowheads="1"/>
            </p:cNvSpPr>
            <p:nvPr/>
          </p:nvSpPr>
          <p:spPr bwMode="gray">
            <a:xfrm>
              <a:off x="3680" y="1856"/>
              <a:ext cx="717" cy="15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gray">
            <a:xfrm>
              <a:off x="3283" y="2696"/>
              <a:ext cx="1194" cy="1200"/>
            </a:xfrm>
            <a:custGeom>
              <a:avLst/>
              <a:gdLst>
                <a:gd name="T0" fmla="*/ 1142 w 918"/>
                <a:gd name="T1" fmla="*/ 0 h 918"/>
                <a:gd name="T2" fmla="*/ 0 w 918"/>
                <a:gd name="T3" fmla="*/ 0 h 918"/>
                <a:gd name="T4" fmla="*/ 1725 w 918"/>
                <a:gd name="T5" fmla="*/ 1725 h 918"/>
                <a:gd name="T6" fmla="*/ 1725 w 918"/>
                <a:gd name="T7" fmla="*/ 583 h 918"/>
                <a:gd name="T8" fmla="*/ 1142 w 918"/>
                <a:gd name="T9" fmla="*/ 0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8"/>
                <a:gd name="T16" fmla="*/ 0 h 918"/>
                <a:gd name="T17" fmla="*/ 918 w 918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8" h="918">
                  <a:moveTo>
                    <a:pt x="60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503"/>
                    <a:pt x="415" y="909"/>
                    <a:pt x="918" y="918"/>
                  </a:cubicBezTo>
                  <a:cubicBezTo>
                    <a:pt x="918" y="310"/>
                    <a:pt x="918" y="310"/>
                    <a:pt x="918" y="310"/>
                  </a:cubicBezTo>
                  <a:cubicBezTo>
                    <a:pt x="750" y="302"/>
                    <a:pt x="616" y="167"/>
                    <a:pt x="608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76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31" name="Rectangle 10" descr="loz fill green"/>
            <p:cNvSpPr>
              <a:spLocks noChangeArrowheads="1"/>
            </p:cNvSpPr>
            <p:nvPr/>
          </p:nvSpPr>
          <p:spPr bwMode="gray">
            <a:xfrm>
              <a:off x="3680" y="3336"/>
              <a:ext cx="717" cy="15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2" name="Freeform 6"/>
            <p:cNvSpPr>
              <a:spLocks/>
            </p:cNvSpPr>
            <p:nvPr/>
          </p:nvSpPr>
          <p:spPr bwMode="gray">
            <a:xfrm>
              <a:off x="4507" y="1468"/>
              <a:ext cx="1192" cy="1200"/>
            </a:xfrm>
            <a:custGeom>
              <a:avLst/>
              <a:gdLst>
                <a:gd name="T0" fmla="*/ 580 w 917"/>
                <a:gd name="T1" fmla="*/ 1725 h 918"/>
                <a:gd name="T2" fmla="*/ 1722 w 917"/>
                <a:gd name="T3" fmla="*/ 1725 h 918"/>
                <a:gd name="T4" fmla="*/ 0 w 917"/>
                <a:gd name="T5" fmla="*/ 0 h 918"/>
                <a:gd name="T6" fmla="*/ 0 w 917"/>
                <a:gd name="T7" fmla="*/ 1142 h 918"/>
                <a:gd name="T8" fmla="*/ 580 w 917"/>
                <a:gd name="T9" fmla="*/ 1725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7"/>
                <a:gd name="T16" fmla="*/ 0 h 918"/>
                <a:gd name="T17" fmla="*/ 917 w 917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7" h="918">
                  <a:moveTo>
                    <a:pt x="309" y="918"/>
                  </a:moveTo>
                  <a:cubicBezTo>
                    <a:pt x="917" y="918"/>
                    <a:pt x="917" y="918"/>
                    <a:pt x="917" y="918"/>
                  </a:cubicBezTo>
                  <a:cubicBezTo>
                    <a:pt x="909" y="415"/>
                    <a:pt x="503" y="9"/>
                    <a:pt x="0" y="0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167" y="616"/>
                    <a:pt x="301" y="751"/>
                    <a:pt x="309" y="91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000">
                <a:cs typeface="Arial" panose="020B0604020202020204" pitchFamily="34" charset="0"/>
              </a:endParaRPr>
            </a:p>
          </p:txBody>
        </p:sp>
        <p:sp>
          <p:nvSpPr>
            <p:cNvPr id="33" name="Rectangle 10" descr="loz fill green"/>
            <p:cNvSpPr>
              <a:spLocks noChangeArrowheads="1"/>
            </p:cNvSpPr>
            <p:nvPr/>
          </p:nvSpPr>
          <p:spPr bwMode="gray">
            <a:xfrm>
              <a:off x="4591" y="1856"/>
              <a:ext cx="955" cy="15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gray">
            <a:xfrm>
              <a:off x="4507" y="2696"/>
              <a:ext cx="1192" cy="1200"/>
            </a:xfrm>
            <a:custGeom>
              <a:avLst/>
              <a:gdLst>
                <a:gd name="T0" fmla="*/ 0 w 917"/>
                <a:gd name="T1" fmla="*/ 583 h 918"/>
                <a:gd name="T2" fmla="*/ 0 w 917"/>
                <a:gd name="T3" fmla="*/ 1725 h 918"/>
                <a:gd name="T4" fmla="*/ 1722 w 917"/>
                <a:gd name="T5" fmla="*/ 0 h 918"/>
                <a:gd name="T6" fmla="*/ 580 w 917"/>
                <a:gd name="T7" fmla="*/ 0 h 918"/>
                <a:gd name="T8" fmla="*/ 0 w 917"/>
                <a:gd name="T9" fmla="*/ 583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7"/>
                <a:gd name="T16" fmla="*/ 0 h 918"/>
                <a:gd name="T17" fmla="*/ 917 w 917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7" h="918">
                  <a:moveTo>
                    <a:pt x="0" y="310"/>
                  </a:moveTo>
                  <a:cubicBezTo>
                    <a:pt x="0" y="918"/>
                    <a:pt x="0" y="918"/>
                    <a:pt x="0" y="918"/>
                  </a:cubicBezTo>
                  <a:cubicBezTo>
                    <a:pt x="503" y="909"/>
                    <a:pt x="909" y="503"/>
                    <a:pt x="917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1" y="167"/>
                    <a:pt x="167" y="302"/>
                    <a:pt x="0" y="31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35" name="Rectangle 10" descr="loz fill green"/>
            <p:cNvSpPr>
              <a:spLocks noChangeArrowheads="1"/>
            </p:cNvSpPr>
            <p:nvPr/>
          </p:nvSpPr>
          <p:spPr bwMode="gray">
            <a:xfrm>
              <a:off x="4591" y="3336"/>
              <a:ext cx="955" cy="15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6" name="Oval 41"/>
            <p:cNvSpPr>
              <a:spLocks noChangeArrowheads="1"/>
            </p:cNvSpPr>
            <p:nvPr/>
          </p:nvSpPr>
          <p:spPr bwMode="gray">
            <a:xfrm>
              <a:off x="4040" y="2235"/>
              <a:ext cx="879" cy="879"/>
            </a:xfrm>
            <a:prstGeom prst="ellipse">
              <a:avLst/>
            </a:prstGeom>
            <a:solidFill>
              <a:schemeClr val="bg2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de-DE" altLang="de-DE" sz="16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34455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38"/>
          <p:cNvGrpSpPr>
            <a:grpSpLocks noChangeAspect="1"/>
          </p:cNvGrpSpPr>
          <p:nvPr/>
        </p:nvGrpSpPr>
        <p:grpSpPr bwMode="auto">
          <a:xfrm>
            <a:off x="2217250" y="2492901"/>
            <a:ext cx="7758000" cy="3619507"/>
            <a:chOff x="139" y="1462"/>
            <a:chExt cx="5217" cy="2434"/>
          </a:xfrm>
        </p:grpSpPr>
        <p:sp>
          <p:nvSpPr>
            <p:cNvPr id="18" name="SMCShape07" descr="SMCShape07"/>
            <p:cNvSpPr>
              <a:spLocks noChangeArrowheads="1"/>
            </p:cNvSpPr>
            <p:nvPr/>
          </p:nvSpPr>
          <p:spPr bwMode="gray">
            <a:xfrm>
              <a:off x="1366" y="1736"/>
              <a:ext cx="3990" cy="9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980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/>
                <a:t>Text</a:t>
              </a:r>
            </a:p>
            <a:p>
              <a:r>
                <a:rPr lang="de-DE" altLang="de-DE" sz="1200"/>
                <a:t>Text</a:t>
              </a:r>
            </a:p>
          </p:txBody>
        </p:sp>
        <p:sp>
          <p:nvSpPr>
            <p:cNvPr id="19" name="SMCShape07" descr="SMCShape07"/>
            <p:cNvSpPr>
              <a:spLocks noChangeArrowheads="1"/>
            </p:cNvSpPr>
            <p:nvPr/>
          </p:nvSpPr>
          <p:spPr bwMode="gray">
            <a:xfrm>
              <a:off x="1366" y="2964"/>
              <a:ext cx="3990" cy="9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980000" tIns="108000" rIns="108000" bIns="108000"/>
            <a:lstStyle>
              <a:lvl1pPr marL="177800" indent="-177800" defTabSz="889000">
                <a:spcBef>
                  <a:spcPct val="20000"/>
                </a:spcBef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6400" indent="-1508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647700" indent="-138113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915988" indent="-177800" defTabSz="889000">
                <a:spcBef>
                  <a:spcPct val="20000"/>
                </a:spcBef>
                <a:buClr>
                  <a:srgbClr val="A61F7D"/>
                </a:buClr>
                <a:buFont typeface="Arial" panose="020B0604020202020204" pitchFamily="34" charset="0"/>
                <a:buChar char="●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143125" indent="-265113" defTabSz="8890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6003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30575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5147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971925" indent="-265113" defTabSz="8890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200"/>
                <a:t>Text</a:t>
              </a:r>
            </a:p>
            <a:p>
              <a:r>
                <a:rPr lang="de-DE" altLang="de-DE" sz="1200"/>
                <a:t>Text</a:t>
              </a:r>
            </a:p>
          </p:txBody>
        </p:sp>
        <p:sp>
          <p:nvSpPr>
            <p:cNvPr id="20" name="Rectangle 20"/>
            <p:cNvSpPr>
              <a:spLocks noChangeArrowheads="1"/>
            </p:cNvSpPr>
            <p:nvPr/>
          </p:nvSpPr>
          <p:spPr bwMode="gray">
            <a:xfrm>
              <a:off x="1366" y="1462"/>
              <a:ext cx="3990" cy="27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rIns="126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1</a:t>
              </a:r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gray">
            <a:xfrm>
              <a:off x="1793" y="2694"/>
              <a:ext cx="3563" cy="27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rIns="126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2</a:t>
              </a: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gray">
            <a:xfrm>
              <a:off x="1363" y="1468"/>
              <a:ext cx="1192" cy="1200"/>
            </a:xfrm>
            <a:custGeom>
              <a:avLst/>
              <a:gdLst>
                <a:gd name="T0" fmla="*/ 580 w 917"/>
                <a:gd name="T1" fmla="*/ 1725 h 918"/>
                <a:gd name="T2" fmla="*/ 1722 w 917"/>
                <a:gd name="T3" fmla="*/ 1725 h 918"/>
                <a:gd name="T4" fmla="*/ 0 w 917"/>
                <a:gd name="T5" fmla="*/ 0 h 918"/>
                <a:gd name="T6" fmla="*/ 0 w 917"/>
                <a:gd name="T7" fmla="*/ 1142 h 918"/>
                <a:gd name="T8" fmla="*/ 580 w 917"/>
                <a:gd name="T9" fmla="*/ 1725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7"/>
                <a:gd name="T16" fmla="*/ 0 h 918"/>
                <a:gd name="T17" fmla="*/ 917 w 917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7" h="918">
                  <a:moveTo>
                    <a:pt x="309" y="918"/>
                  </a:moveTo>
                  <a:cubicBezTo>
                    <a:pt x="917" y="918"/>
                    <a:pt x="917" y="918"/>
                    <a:pt x="917" y="918"/>
                  </a:cubicBezTo>
                  <a:cubicBezTo>
                    <a:pt x="909" y="415"/>
                    <a:pt x="503" y="9"/>
                    <a:pt x="0" y="0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167" y="616"/>
                    <a:pt x="301" y="751"/>
                    <a:pt x="309" y="91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000">
                <a:cs typeface="Arial" panose="020B0604020202020204" pitchFamily="34" charset="0"/>
              </a:endParaRPr>
            </a:p>
          </p:txBody>
        </p:sp>
        <p:sp>
          <p:nvSpPr>
            <p:cNvPr id="37" name="Rectangle 10" descr="loz fill green"/>
            <p:cNvSpPr>
              <a:spLocks noChangeArrowheads="1"/>
            </p:cNvSpPr>
            <p:nvPr/>
          </p:nvSpPr>
          <p:spPr bwMode="gray">
            <a:xfrm>
              <a:off x="1447" y="1852"/>
              <a:ext cx="699" cy="14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>
                  <a:solidFill>
                    <a:schemeClr val="bg1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gray">
            <a:xfrm>
              <a:off x="1363" y="2696"/>
              <a:ext cx="1192" cy="1200"/>
            </a:xfrm>
            <a:custGeom>
              <a:avLst/>
              <a:gdLst>
                <a:gd name="T0" fmla="*/ 0 w 917"/>
                <a:gd name="T1" fmla="*/ 583 h 918"/>
                <a:gd name="T2" fmla="*/ 0 w 917"/>
                <a:gd name="T3" fmla="*/ 1725 h 918"/>
                <a:gd name="T4" fmla="*/ 1722 w 917"/>
                <a:gd name="T5" fmla="*/ 0 h 918"/>
                <a:gd name="T6" fmla="*/ 580 w 917"/>
                <a:gd name="T7" fmla="*/ 0 h 918"/>
                <a:gd name="T8" fmla="*/ 0 w 917"/>
                <a:gd name="T9" fmla="*/ 583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7"/>
                <a:gd name="T16" fmla="*/ 0 h 918"/>
                <a:gd name="T17" fmla="*/ 917 w 917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7" h="918">
                  <a:moveTo>
                    <a:pt x="0" y="310"/>
                  </a:moveTo>
                  <a:cubicBezTo>
                    <a:pt x="0" y="918"/>
                    <a:pt x="0" y="918"/>
                    <a:pt x="0" y="918"/>
                  </a:cubicBezTo>
                  <a:cubicBezTo>
                    <a:pt x="503" y="909"/>
                    <a:pt x="909" y="503"/>
                    <a:pt x="917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1" y="167"/>
                    <a:pt x="167" y="302"/>
                    <a:pt x="0" y="31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39" name="Rectangle 10" descr="loz fill green"/>
            <p:cNvSpPr>
              <a:spLocks noChangeArrowheads="1"/>
            </p:cNvSpPr>
            <p:nvPr/>
          </p:nvSpPr>
          <p:spPr bwMode="gray">
            <a:xfrm>
              <a:off x="1447" y="3332"/>
              <a:ext cx="699" cy="14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 b="1">
                  <a:solidFill>
                    <a:schemeClr val="bg1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139" y="1468"/>
              <a:ext cx="1194" cy="1200"/>
            </a:xfrm>
            <a:custGeom>
              <a:avLst/>
              <a:gdLst>
                <a:gd name="T0" fmla="*/ 0 w 918"/>
                <a:gd name="T1" fmla="*/ 1725 h 918"/>
                <a:gd name="T2" fmla="*/ 1142 w 918"/>
                <a:gd name="T3" fmla="*/ 1725 h 918"/>
                <a:gd name="T4" fmla="*/ 1725 w 918"/>
                <a:gd name="T5" fmla="*/ 1142 h 918"/>
                <a:gd name="T6" fmla="*/ 1725 w 918"/>
                <a:gd name="T7" fmla="*/ 0 h 918"/>
                <a:gd name="T8" fmla="*/ 0 w 918"/>
                <a:gd name="T9" fmla="*/ 1725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8"/>
                <a:gd name="T16" fmla="*/ 0 h 918"/>
                <a:gd name="T17" fmla="*/ 918 w 918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8" h="918">
                  <a:moveTo>
                    <a:pt x="0" y="918"/>
                  </a:moveTo>
                  <a:cubicBezTo>
                    <a:pt x="608" y="918"/>
                    <a:pt x="608" y="918"/>
                    <a:pt x="608" y="918"/>
                  </a:cubicBezTo>
                  <a:cubicBezTo>
                    <a:pt x="616" y="751"/>
                    <a:pt x="750" y="616"/>
                    <a:pt x="918" y="608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415" y="9"/>
                    <a:pt x="8" y="415"/>
                    <a:pt x="0" y="91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41" name="Rectangle 10" descr="loz fill green"/>
            <p:cNvSpPr>
              <a:spLocks noChangeArrowheads="1"/>
            </p:cNvSpPr>
            <p:nvPr/>
          </p:nvSpPr>
          <p:spPr bwMode="gray">
            <a:xfrm>
              <a:off x="298" y="1852"/>
              <a:ext cx="955" cy="14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gray">
            <a:xfrm>
              <a:off x="139" y="2696"/>
              <a:ext cx="1194" cy="1200"/>
            </a:xfrm>
            <a:custGeom>
              <a:avLst/>
              <a:gdLst>
                <a:gd name="T0" fmla="*/ 1142 w 918"/>
                <a:gd name="T1" fmla="*/ 0 h 918"/>
                <a:gd name="T2" fmla="*/ 0 w 918"/>
                <a:gd name="T3" fmla="*/ 0 h 918"/>
                <a:gd name="T4" fmla="*/ 1725 w 918"/>
                <a:gd name="T5" fmla="*/ 1725 h 918"/>
                <a:gd name="T6" fmla="*/ 1725 w 918"/>
                <a:gd name="T7" fmla="*/ 583 h 918"/>
                <a:gd name="T8" fmla="*/ 1142 w 918"/>
                <a:gd name="T9" fmla="*/ 0 h 9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8"/>
                <a:gd name="T16" fmla="*/ 0 h 918"/>
                <a:gd name="T17" fmla="*/ 918 w 918"/>
                <a:gd name="T18" fmla="*/ 918 h 9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8" h="918">
                  <a:moveTo>
                    <a:pt x="60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503"/>
                    <a:pt x="415" y="909"/>
                    <a:pt x="918" y="918"/>
                  </a:cubicBezTo>
                  <a:cubicBezTo>
                    <a:pt x="918" y="310"/>
                    <a:pt x="918" y="310"/>
                    <a:pt x="918" y="310"/>
                  </a:cubicBezTo>
                  <a:cubicBezTo>
                    <a:pt x="750" y="302"/>
                    <a:pt x="616" y="167"/>
                    <a:pt x="608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1176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fr-FR" altLang="de-DE" sz="1400">
                <a:cs typeface="Arial" panose="020B0604020202020204" pitchFamily="34" charset="0"/>
              </a:endParaRPr>
            </a:p>
          </p:txBody>
        </p:sp>
        <p:sp>
          <p:nvSpPr>
            <p:cNvPr id="43" name="Rectangle 10" descr="loz fill green"/>
            <p:cNvSpPr>
              <a:spLocks noChangeArrowheads="1"/>
            </p:cNvSpPr>
            <p:nvPr/>
          </p:nvSpPr>
          <p:spPr bwMode="gray">
            <a:xfrm>
              <a:off x="618" y="3332"/>
              <a:ext cx="635" cy="14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  <p:sp>
          <p:nvSpPr>
            <p:cNvPr id="44" name="Oval 22"/>
            <p:cNvSpPr>
              <a:spLocks noChangeArrowheads="1"/>
            </p:cNvSpPr>
            <p:nvPr/>
          </p:nvSpPr>
          <p:spPr bwMode="gray">
            <a:xfrm>
              <a:off x="896" y="2235"/>
              <a:ext cx="879" cy="879"/>
            </a:xfrm>
            <a:prstGeom prst="ellipse">
              <a:avLst/>
            </a:prstGeom>
            <a:solidFill>
              <a:schemeClr val="bg2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57290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40"/>
          <p:cNvGrpSpPr>
            <a:grpSpLocks/>
          </p:cNvGrpSpPr>
          <p:nvPr/>
        </p:nvGrpSpPr>
        <p:grpSpPr bwMode="auto">
          <a:xfrm>
            <a:off x="2063307" y="2348880"/>
            <a:ext cx="8065886" cy="3765078"/>
            <a:chOff x="165" y="1283"/>
            <a:chExt cx="5390" cy="2516"/>
          </a:xfrm>
        </p:grpSpPr>
        <p:sp>
          <p:nvSpPr>
            <p:cNvPr id="24" name="Arc 15"/>
            <p:cNvSpPr>
              <a:spLocks/>
            </p:cNvSpPr>
            <p:nvPr/>
          </p:nvSpPr>
          <p:spPr bwMode="gray">
            <a:xfrm>
              <a:off x="1138" y="1726"/>
              <a:ext cx="3444" cy="1647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600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599"/>
                  </a:cubicBezTo>
                </a:path>
                <a:path w="432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5080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590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de-DE" altLang="de-DE"/>
            </a:p>
          </p:txBody>
        </p:sp>
        <p:sp>
          <p:nvSpPr>
            <p:cNvPr id="25" name="Rectangle 16"/>
            <p:cNvSpPr>
              <a:spLocks noChangeArrowheads="1"/>
            </p:cNvSpPr>
            <p:nvPr/>
          </p:nvSpPr>
          <p:spPr bwMode="gray">
            <a:xfrm>
              <a:off x="165" y="3373"/>
              <a:ext cx="5390" cy="4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108000" bIns="108000" anchor="ctr"/>
            <a:lstStyle/>
            <a:p>
              <a:pPr algn="ctr">
                <a:lnSpc>
                  <a:spcPct val="110000"/>
                </a:lnSpc>
                <a:spcAft>
                  <a:spcPct val="30000"/>
                </a:spcAft>
              </a:pPr>
              <a:r>
                <a:rPr lang="de-DE" altLang="de-DE" sz="1600" b="1" dirty="0">
                  <a:solidFill>
                    <a:srgbClr val="FFFFFF"/>
                  </a:solidFill>
                </a:rPr>
                <a:t>Ergebnis</a:t>
              </a:r>
              <a:endParaRPr lang="de-DE" alt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AutoShape 18"/>
            <p:cNvSpPr>
              <a:spLocks noChangeArrowheads="1"/>
            </p:cNvSpPr>
            <p:nvPr/>
          </p:nvSpPr>
          <p:spPr bwMode="gray">
            <a:xfrm flipV="1">
              <a:off x="2234" y="2967"/>
              <a:ext cx="1252" cy="323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de-DE" altLang="de-DE"/>
            </a:p>
          </p:txBody>
        </p:sp>
        <p:sp>
          <p:nvSpPr>
            <p:cNvPr id="27" name="Text Box 19"/>
            <p:cNvSpPr txBox="1">
              <a:spLocks noChangeArrowheads="1"/>
            </p:cNvSpPr>
            <p:nvPr/>
          </p:nvSpPr>
          <p:spPr bwMode="gray">
            <a:xfrm flipH="1">
              <a:off x="2134" y="2748"/>
              <a:ext cx="145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2B2B2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algn="ctr" eaLnBrk="0" hangingPunct="0"/>
              <a:r>
                <a:rPr lang="de-DE" altLang="de-DE" sz="1600" b="1" dirty="0">
                  <a:solidFill>
                    <a:srgbClr val="000000"/>
                  </a:solidFill>
                </a:rPr>
                <a:t>Erfolgsfaktoren</a:t>
              </a:r>
            </a:p>
          </p:txBody>
        </p:sp>
        <p:sp>
          <p:nvSpPr>
            <p:cNvPr id="28" name="Oval 20"/>
            <p:cNvSpPr>
              <a:spLocks noChangeArrowheads="1"/>
            </p:cNvSpPr>
            <p:nvPr/>
          </p:nvSpPr>
          <p:spPr bwMode="gray">
            <a:xfrm>
              <a:off x="966" y="1853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 dirty="0">
                  <a:solidFill>
                    <a:srgbClr val="000000"/>
                  </a:solidFill>
                </a:rPr>
                <a:t>Aspekt 2</a:t>
              </a:r>
            </a:p>
          </p:txBody>
        </p:sp>
        <p:sp>
          <p:nvSpPr>
            <p:cNvPr id="29" name="Oval 21"/>
            <p:cNvSpPr>
              <a:spLocks noChangeArrowheads="1"/>
            </p:cNvSpPr>
            <p:nvPr/>
          </p:nvSpPr>
          <p:spPr bwMode="gray">
            <a:xfrm>
              <a:off x="599" y="2795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rgbClr val="000000"/>
                  </a:solidFill>
                </a:rPr>
                <a:t>Aspekt 1</a:t>
              </a:r>
            </a:p>
          </p:txBody>
        </p:sp>
        <p:sp>
          <p:nvSpPr>
            <p:cNvPr id="30" name="Oval 22"/>
            <p:cNvSpPr>
              <a:spLocks noChangeArrowheads="1"/>
            </p:cNvSpPr>
            <p:nvPr/>
          </p:nvSpPr>
          <p:spPr bwMode="gray">
            <a:xfrm>
              <a:off x="1830" y="1284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rgbClr val="000000"/>
                  </a:solidFill>
                </a:rPr>
                <a:t>Aspekt 3</a:t>
              </a:r>
            </a:p>
          </p:txBody>
        </p:sp>
        <p:sp>
          <p:nvSpPr>
            <p:cNvPr id="31" name="Oval 23"/>
            <p:cNvSpPr>
              <a:spLocks noChangeArrowheads="1"/>
            </p:cNvSpPr>
            <p:nvPr/>
          </p:nvSpPr>
          <p:spPr bwMode="gray">
            <a:xfrm flipH="1">
              <a:off x="3736" y="1793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 dirty="0">
                  <a:solidFill>
                    <a:srgbClr val="000000"/>
                  </a:solidFill>
                </a:rPr>
                <a:t>Aspekt 5</a:t>
              </a:r>
            </a:p>
          </p:txBody>
        </p:sp>
        <p:sp>
          <p:nvSpPr>
            <p:cNvPr id="32" name="Oval 24"/>
            <p:cNvSpPr>
              <a:spLocks noChangeArrowheads="1"/>
            </p:cNvSpPr>
            <p:nvPr/>
          </p:nvSpPr>
          <p:spPr bwMode="gray">
            <a:xfrm flipH="1">
              <a:off x="4213" y="2700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rgbClr val="000000"/>
                  </a:solidFill>
                </a:rPr>
                <a:t>Aspekt 6</a:t>
              </a:r>
            </a:p>
          </p:txBody>
        </p:sp>
        <p:sp>
          <p:nvSpPr>
            <p:cNvPr id="33" name="Oval 25"/>
            <p:cNvSpPr>
              <a:spLocks noChangeArrowheads="1"/>
            </p:cNvSpPr>
            <p:nvPr/>
          </p:nvSpPr>
          <p:spPr bwMode="gray">
            <a:xfrm flipH="1">
              <a:off x="2860" y="1283"/>
              <a:ext cx="907" cy="90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rgbClr val="000000"/>
                  </a:solidFill>
                </a:rPr>
                <a:t>Aspekt 4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5281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3291518" y="2211847"/>
            <a:ext cx="5609464" cy="4038227"/>
            <a:chOff x="1658570" y="2037902"/>
            <a:chExt cx="5923930" cy="4264610"/>
          </a:xfrm>
        </p:grpSpPr>
        <p:sp>
          <p:nvSpPr>
            <p:cNvPr id="14" name="Oval 20"/>
            <p:cNvSpPr>
              <a:spLocks noChangeArrowheads="1"/>
            </p:cNvSpPr>
            <p:nvPr/>
          </p:nvSpPr>
          <p:spPr bwMode="gray">
            <a:xfrm>
              <a:off x="3844925" y="3311525"/>
              <a:ext cx="1474788" cy="1474788"/>
            </a:xfrm>
            <a:prstGeom prst="ellipse">
              <a:avLst/>
            </a:prstGeom>
            <a:solidFill>
              <a:schemeClr val="tx2"/>
            </a:solidFill>
            <a:ln w="28575" algn="ctr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de-DE" altLang="de-DE" sz="1600" b="1">
                  <a:solidFill>
                    <a:srgbClr val="FFFFFF"/>
                  </a:solidFill>
                </a:rPr>
                <a:t>Kern-</a:t>
              </a:r>
              <a:br>
                <a:rPr lang="de-DE" altLang="de-DE" sz="1600" b="1">
                  <a:solidFill>
                    <a:srgbClr val="FFFFFF"/>
                  </a:solidFill>
                </a:rPr>
              </a:br>
              <a:r>
                <a:rPr lang="de-DE" altLang="de-DE" sz="1600" b="1">
                  <a:solidFill>
                    <a:srgbClr val="FFFFFF"/>
                  </a:solidFill>
                </a:rPr>
                <a:t>aussage</a:t>
              </a:r>
            </a:p>
          </p:txBody>
        </p:sp>
        <p:sp>
          <p:nvSpPr>
            <p:cNvPr id="15" name="Line 21"/>
            <p:cNvSpPr>
              <a:spLocks noChangeShapeType="1"/>
            </p:cNvSpPr>
            <p:nvPr/>
          </p:nvSpPr>
          <p:spPr bwMode="gray">
            <a:xfrm>
              <a:off x="3017838" y="4076700"/>
              <a:ext cx="801687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16" name="Line 22"/>
            <p:cNvSpPr>
              <a:spLocks noChangeShapeType="1"/>
            </p:cNvSpPr>
            <p:nvPr/>
          </p:nvSpPr>
          <p:spPr bwMode="gray">
            <a:xfrm flipH="1" flipV="1">
              <a:off x="3509963" y="3160713"/>
              <a:ext cx="479425" cy="41910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17" name="Line 23"/>
            <p:cNvSpPr>
              <a:spLocks noChangeShapeType="1"/>
            </p:cNvSpPr>
            <p:nvPr/>
          </p:nvSpPr>
          <p:spPr bwMode="gray">
            <a:xfrm flipV="1">
              <a:off x="3509963" y="4532313"/>
              <a:ext cx="479425" cy="41910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18" name="Oval 25"/>
            <p:cNvSpPr>
              <a:spLocks noChangeArrowheads="1"/>
            </p:cNvSpPr>
            <p:nvPr/>
          </p:nvSpPr>
          <p:spPr bwMode="gray">
            <a:xfrm>
              <a:off x="2347372" y="2047808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1</a:t>
              </a:r>
            </a:p>
          </p:txBody>
        </p:sp>
        <p:sp>
          <p:nvSpPr>
            <p:cNvPr id="19" name="Oval 26"/>
            <p:cNvSpPr>
              <a:spLocks noChangeArrowheads="1"/>
            </p:cNvSpPr>
            <p:nvPr/>
          </p:nvSpPr>
          <p:spPr bwMode="gray">
            <a:xfrm>
              <a:off x="1658570" y="3538537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2</a:t>
              </a:r>
            </a:p>
          </p:txBody>
        </p:sp>
        <p:sp>
          <p:nvSpPr>
            <p:cNvPr id="20" name="Oval 27"/>
            <p:cNvSpPr>
              <a:spLocks noChangeArrowheads="1"/>
            </p:cNvSpPr>
            <p:nvPr/>
          </p:nvSpPr>
          <p:spPr bwMode="gray">
            <a:xfrm>
              <a:off x="2475582" y="4862512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3</a:t>
              </a:r>
            </a:p>
          </p:txBody>
        </p:sp>
        <p:sp>
          <p:nvSpPr>
            <p:cNvPr id="21" name="Line 28"/>
            <p:cNvSpPr>
              <a:spLocks noChangeShapeType="1"/>
            </p:cNvSpPr>
            <p:nvPr/>
          </p:nvSpPr>
          <p:spPr bwMode="gray">
            <a:xfrm flipH="1">
              <a:off x="5346700" y="4076700"/>
              <a:ext cx="801688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22" name="Line 29"/>
            <p:cNvSpPr>
              <a:spLocks noChangeShapeType="1"/>
            </p:cNvSpPr>
            <p:nvPr/>
          </p:nvSpPr>
          <p:spPr bwMode="gray">
            <a:xfrm flipV="1">
              <a:off x="5176838" y="3160713"/>
              <a:ext cx="479425" cy="41910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34" name="Line 30"/>
            <p:cNvSpPr>
              <a:spLocks noChangeShapeType="1"/>
            </p:cNvSpPr>
            <p:nvPr/>
          </p:nvSpPr>
          <p:spPr bwMode="gray">
            <a:xfrm flipH="1" flipV="1">
              <a:off x="5176838" y="4532313"/>
              <a:ext cx="479425" cy="41910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de-DE"/>
            </a:p>
          </p:txBody>
        </p:sp>
        <p:sp>
          <p:nvSpPr>
            <p:cNvPr id="35" name="Oval 31"/>
            <p:cNvSpPr>
              <a:spLocks noChangeArrowheads="1"/>
            </p:cNvSpPr>
            <p:nvPr/>
          </p:nvSpPr>
          <p:spPr bwMode="gray">
            <a:xfrm flipH="1">
              <a:off x="5416550" y="2037902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4</a:t>
              </a:r>
            </a:p>
          </p:txBody>
        </p:sp>
        <p:sp>
          <p:nvSpPr>
            <p:cNvPr id="36" name="Oval 32"/>
            <p:cNvSpPr>
              <a:spLocks noChangeArrowheads="1"/>
            </p:cNvSpPr>
            <p:nvPr/>
          </p:nvSpPr>
          <p:spPr bwMode="gray">
            <a:xfrm flipH="1">
              <a:off x="6142500" y="3538537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5</a:t>
              </a:r>
            </a:p>
          </p:txBody>
        </p:sp>
        <p:sp>
          <p:nvSpPr>
            <p:cNvPr id="37" name="Oval 33"/>
            <p:cNvSpPr>
              <a:spLocks noChangeArrowheads="1"/>
            </p:cNvSpPr>
            <p:nvPr/>
          </p:nvSpPr>
          <p:spPr bwMode="gray">
            <a:xfrm>
              <a:off x="5328319" y="4862512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110000"/>
                </a:lnSpc>
                <a:spcAft>
                  <a:spcPct val="10000"/>
                </a:spcAft>
                <a:buClr>
                  <a:schemeClr val="hlink"/>
                </a:buClr>
                <a:buSzPct val="80000"/>
                <a:buFont typeface="Wingdings" panose="05000000000000000000" pitchFamily="2" charset="2"/>
                <a:buNone/>
              </a:pPr>
              <a:r>
                <a:rPr lang="de-DE" altLang="de-DE" sz="1400" b="1">
                  <a:solidFill>
                    <a:schemeClr val="bg1"/>
                  </a:solidFill>
                </a:rPr>
                <a:t>Aspekt 6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151832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33"/>
          <p:cNvGrpSpPr>
            <a:grpSpLocks/>
          </p:cNvGrpSpPr>
          <p:nvPr/>
        </p:nvGrpSpPr>
        <p:grpSpPr bwMode="auto">
          <a:xfrm>
            <a:off x="2349126" y="2437822"/>
            <a:ext cx="7494248" cy="3518960"/>
            <a:chOff x="375" y="1527"/>
            <a:chExt cx="5009" cy="2352"/>
          </a:xfrm>
        </p:grpSpPr>
        <p:sp>
          <p:nvSpPr>
            <p:cNvPr id="24" name="Rectangle 9"/>
            <p:cNvSpPr>
              <a:spLocks noChangeArrowheads="1"/>
            </p:cNvSpPr>
            <p:nvPr/>
          </p:nvSpPr>
          <p:spPr bwMode="gray">
            <a:xfrm>
              <a:off x="2770" y="1527"/>
              <a:ext cx="2614" cy="3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6</a:t>
              </a: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gray">
            <a:xfrm>
              <a:off x="2770" y="2035"/>
              <a:ext cx="2614" cy="3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7</a:t>
              </a:r>
            </a:p>
          </p:txBody>
        </p:sp>
        <p:sp>
          <p:nvSpPr>
            <p:cNvPr id="26" name="Rectangle 9"/>
            <p:cNvSpPr>
              <a:spLocks noChangeArrowheads="1"/>
            </p:cNvSpPr>
            <p:nvPr/>
          </p:nvSpPr>
          <p:spPr bwMode="gray">
            <a:xfrm>
              <a:off x="2770" y="2543"/>
              <a:ext cx="2614" cy="3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8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gray">
            <a:xfrm>
              <a:off x="2770" y="3051"/>
              <a:ext cx="2614" cy="3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gray">
            <a:xfrm>
              <a:off x="2770" y="3559"/>
              <a:ext cx="2614" cy="3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de-DE" altLang="de-DE" sz="1600" b="1">
                  <a:solidFill>
                    <a:srgbClr val="FFFFFF"/>
                  </a:solidFill>
                  <a:cs typeface="Arial" panose="020B0604020202020204" pitchFamily="34" charset="0"/>
                </a:rPr>
                <a:t>Aspekt 10</a:t>
              </a:r>
            </a:p>
          </p:txBody>
        </p:sp>
        <p:sp>
          <p:nvSpPr>
            <p:cNvPr id="29" name="Rectangle 9"/>
            <p:cNvSpPr>
              <a:spLocks noChangeArrowheads="1"/>
            </p:cNvSpPr>
            <p:nvPr/>
          </p:nvSpPr>
          <p:spPr bwMode="gray">
            <a:xfrm>
              <a:off x="375" y="1527"/>
              <a:ext cx="2614" cy="32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1</a:t>
              </a:r>
            </a:p>
          </p:txBody>
        </p:sp>
        <p:sp>
          <p:nvSpPr>
            <p:cNvPr id="30" name="Rectangle 9"/>
            <p:cNvSpPr>
              <a:spLocks noChangeArrowheads="1"/>
            </p:cNvSpPr>
            <p:nvPr/>
          </p:nvSpPr>
          <p:spPr bwMode="gray">
            <a:xfrm>
              <a:off x="375" y="2035"/>
              <a:ext cx="2614" cy="32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2</a:t>
              </a: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375" y="2543"/>
              <a:ext cx="2614" cy="32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3</a:t>
              </a: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gray">
            <a:xfrm>
              <a:off x="375" y="3051"/>
              <a:ext cx="2614" cy="32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4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375" y="3559"/>
              <a:ext cx="2614" cy="32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 b="1">
                  <a:solidFill>
                    <a:schemeClr val="bg1"/>
                  </a:solidFill>
                  <a:cs typeface="Arial" panose="020B0604020202020204" pitchFamily="34" charset="0"/>
                </a:rPr>
                <a:t>Aspekt 5</a:t>
              </a:r>
            </a:p>
          </p:txBody>
        </p:sp>
        <p:sp>
          <p:nvSpPr>
            <p:cNvPr id="38" name="Oval 31"/>
            <p:cNvSpPr>
              <a:spLocks noChangeArrowheads="1"/>
            </p:cNvSpPr>
            <p:nvPr/>
          </p:nvSpPr>
          <p:spPr bwMode="gray">
            <a:xfrm>
              <a:off x="1703" y="1527"/>
              <a:ext cx="2352" cy="2352"/>
            </a:xfrm>
            <a:prstGeom prst="ellipse">
              <a:avLst/>
            </a:prstGeom>
            <a:solidFill>
              <a:schemeClr val="bg1"/>
            </a:solidFill>
            <a:ln w="5715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de-DE" altLang="de-DE" b="1"/>
                <a:t>Text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5218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237684953"/>
              </p:ext>
            </p:extLst>
          </p:nvPr>
        </p:nvGraphicFramePr>
        <p:xfrm>
          <a:off x="3048250" y="215582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98685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m 11"/>
          <p:cNvGraphicFramePr/>
          <p:nvPr>
            <p:extLst>
              <p:ext uri="{D42A27DB-BD31-4B8C-83A1-F6EECF244321}">
                <p14:modId xmlns:p14="http://schemas.microsoft.com/office/powerpoint/2010/main" val="571388291"/>
              </p:ext>
            </p:extLst>
          </p:nvPr>
        </p:nvGraphicFramePr>
        <p:xfrm>
          <a:off x="2621277" y="1968721"/>
          <a:ext cx="7140790" cy="47605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Ellipse 12"/>
          <p:cNvSpPr/>
          <p:nvPr/>
        </p:nvSpPr>
        <p:spPr>
          <a:xfrm>
            <a:off x="5357256" y="3482344"/>
            <a:ext cx="1693392" cy="169339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algn="ctr"/>
            <a:r>
              <a:rPr lang="de-DE" b="1" dirty="0"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87300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2915031402"/>
              </p:ext>
            </p:extLst>
          </p:nvPr>
        </p:nvGraphicFramePr>
        <p:xfrm>
          <a:off x="3048250" y="215582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0892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1578455031"/>
              </p:ext>
            </p:extLst>
          </p:nvPr>
        </p:nvGraphicFramePr>
        <p:xfrm>
          <a:off x="2879167" y="2276872"/>
          <a:ext cx="6434166" cy="42894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209206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llipse 4"/>
          <p:cNvSpPr/>
          <p:nvPr/>
        </p:nvSpPr>
        <p:spPr>
          <a:xfrm>
            <a:off x="2689241" y="3031067"/>
            <a:ext cx="1681036" cy="168103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Text</a:t>
            </a:r>
          </a:p>
        </p:txBody>
      </p:sp>
      <p:sp>
        <p:nvSpPr>
          <p:cNvPr id="7" name="Ellipse 6"/>
          <p:cNvSpPr/>
          <p:nvPr/>
        </p:nvSpPr>
        <p:spPr>
          <a:xfrm>
            <a:off x="4334210" y="4046819"/>
            <a:ext cx="1839498" cy="183949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 err="1"/>
              <a:t>Text</a:t>
            </a:r>
            <a:endParaRPr lang="de-DE" sz="2000" b="1" dirty="0"/>
          </a:p>
        </p:txBody>
      </p:sp>
      <p:sp>
        <p:nvSpPr>
          <p:cNvPr id="8" name="Ellipse 7"/>
          <p:cNvSpPr/>
          <p:nvPr/>
        </p:nvSpPr>
        <p:spPr>
          <a:xfrm>
            <a:off x="5591944" y="2348880"/>
            <a:ext cx="1845234" cy="1845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000" b="1" dirty="0"/>
              <a:t>Text</a:t>
            </a:r>
          </a:p>
        </p:txBody>
      </p:sp>
      <p:sp>
        <p:nvSpPr>
          <p:cNvPr id="9" name="Ellipse 8"/>
          <p:cNvSpPr/>
          <p:nvPr/>
        </p:nvSpPr>
        <p:spPr>
          <a:xfrm>
            <a:off x="7437178" y="3086503"/>
            <a:ext cx="2037298" cy="203729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2000" b="1" dirty="0" err="1"/>
              <a:t>Text</a:t>
            </a:r>
            <a:endParaRPr lang="fr-FR" sz="2000" b="1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2244003" y="2340001"/>
            <a:ext cx="7668425" cy="230832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3156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üro/Organisation </a:t>
            </a:r>
            <a:endParaRPr lang="de-DE" dirty="0"/>
          </a:p>
        </p:txBody>
      </p:sp>
      <p:grpSp>
        <p:nvGrpSpPr>
          <p:cNvPr id="121" name="Gruppieren 120"/>
          <p:cNvGrpSpPr/>
          <p:nvPr/>
        </p:nvGrpSpPr>
        <p:grpSpPr>
          <a:xfrm>
            <a:off x="2887198" y="2166729"/>
            <a:ext cx="697111" cy="697111"/>
            <a:chOff x="3839266" y="4005064"/>
            <a:chExt cx="697111" cy="697111"/>
          </a:xfrm>
        </p:grpSpPr>
        <p:sp>
          <p:nvSpPr>
            <p:cNvPr id="122" name="Ellipse 121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3" name="Grafik 1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4100446"/>
              <a:ext cx="472480" cy="472480"/>
            </a:xfrm>
            <a:prstGeom prst="rect">
              <a:avLst/>
            </a:prstGeom>
          </p:spPr>
        </p:pic>
      </p:grpSp>
      <p:grpSp>
        <p:nvGrpSpPr>
          <p:cNvPr id="124" name="Gruppieren 123"/>
          <p:cNvGrpSpPr/>
          <p:nvPr/>
        </p:nvGrpSpPr>
        <p:grpSpPr>
          <a:xfrm>
            <a:off x="4533584" y="2166729"/>
            <a:ext cx="697111" cy="697111"/>
            <a:chOff x="5472132" y="4005064"/>
            <a:chExt cx="697111" cy="697111"/>
          </a:xfrm>
        </p:grpSpPr>
        <p:sp>
          <p:nvSpPr>
            <p:cNvPr id="125" name="Ellipse 124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6" name="Grafik 12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1290" y="4155755"/>
              <a:ext cx="378796" cy="378796"/>
            </a:xfrm>
            <a:prstGeom prst="rect">
              <a:avLst/>
            </a:prstGeom>
          </p:spPr>
        </p:pic>
      </p:grpSp>
      <p:grpSp>
        <p:nvGrpSpPr>
          <p:cNvPr id="127" name="Gruppieren 126"/>
          <p:cNvGrpSpPr/>
          <p:nvPr/>
        </p:nvGrpSpPr>
        <p:grpSpPr>
          <a:xfrm>
            <a:off x="2064005" y="2166729"/>
            <a:ext cx="697111" cy="697111"/>
            <a:chOff x="3022833" y="4005064"/>
            <a:chExt cx="697111" cy="697111"/>
          </a:xfrm>
        </p:grpSpPr>
        <p:sp>
          <p:nvSpPr>
            <p:cNvPr id="128" name="Ellipse 127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9" name="Grafik 12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9278" y="4141509"/>
              <a:ext cx="424222" cy="424222"/>
            </a:xfrm>
            <a:prstGeom prst="rect">
              <a:avLst/>
            </a:prstGeom>
          </p:spPr>
        </p:pic>
      </p:grpSp>
      <p:grpSp>
        <p:nvGrpSpPr>
          <p:cNvPr id="130" name="Gruppieren 129"/>
          <p:cNvGrpSpPr/>
          <p:nvPr/>
        </p:nvGrpSpPr>
        <p:grpSpPr>
          <a:xfrm>
            <a:off x="3710391" y="2166729"/>
            <a:ext cx="697111" cy="697111"/>
            <a:chOff x="4655699" y="4005064"/>
            <a:chExt cx="697111" cy="697111"/>
          </a:xfrm>
        </p:grpSpPr>
        <p:sp>
          <p:nvSpPr>
            <p:cNvPr id="131" name="Ellipse 130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2" name="Grafik 13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4100446"/>
              <a:ext cx="472480" cy="472480"/>
            </a:xfrm>
            <a:prstGeom prst="rect">
              <a:avLst/>
            </a:prstGeom>
          </p:spPr>
        </p:pic>
      </p:grpSp>
      <p:grpSp>
        <p:nvGrpSpPr>
          <p:cNvPr id="133" name="Gruppieren 132"/>
          <p:cNvGrpSpPr/>
          <p:nvPr/>
        </p:nvGrpSpPr>
        <p:grpSpPr>
          <a:xfrm>
            <a:off x="5356777" y="2166729"/>
            <a:ext cx="697111" cy="697111"/>
            <a:chOff x="2206400" y="4941168"/>
            <a:chExt cx="697111" cy="697111"/>
          </a:xfrm>
        </p:grpSpPr>
        <p:sp>
          <p:nvSpPr>
            <p:cNvPr id="134" name="Ellipse 133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5" name="Grafik 13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2084" y="5076852"/>
              <a:ext cx="425744" cy="425744"/>
            </a:xfrm>
            <a:prstGeom prst="rect">
              <a:avLst/>
            </a:prstGeom>
          </p:spPr>
        </p:pic>
      </p:grpSp>
      <p:grpSp>
        <p:nvGrpSpPr>
          <p:cNvPr id="136" name="Gruppieren 135"/>
          <p:cNvGrpSpPr/>
          <p:nvPr/>
        </p:nvGrpSpPr>
        <p:grpSpPr>
          <a:xfrm>
            <a:off x="6179970" y="2166729"/>
            <a:ext cx="697111" cy="697111"/>
            <a:chOff x="3022833" y="4941168"/>
            <a:chExt cx="697111" cy="697111"/>
          </a:xfrm>
        </p:grpSpPr>
        <p:sp>
          <p:nvSpPr>
            <p:cNvPr id="137" name="Ellipse 136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8" name="Grafik 13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7509" y="5085844"/>
              <a:ext cx="407760" cy="407760"/>
            </a:xfrm>
            <a:prstGeom prst="rect">
              <a:avLst/>
            </a:prstGeom>
          </p:spPr>
        </p:pic>
      </p:grpSp>
      <p:grpSp>
        <p:nvGrpSpPr>
          <p:cNvPr id="139" name="Gruppieren 138"/>
          <p:cNvGrpSpPr/>
          <p:nvPr/>
        </p:nvGrpSpPr>
        <p:grpSpPr>
          <a:xfrm>
            <a:off x="7826356" y="2166729"/>
            <a:ext cx="697111" cy="697111"/>
            <a:chOff x="3839266" y="4005064"/>
            <a:chExt cx="697111" cy="697111"/>
          </a:xfrm>
        </p:grpSpPr>
        <p:sp>
          <p:nvSpPr>
            <p:cNvPr id="140" name="Ellipse 139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1" name="Grafik 14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2409" y="4158207"/>
              <a:ext cx="390826" cy="390826"/>
            </a:xfrm>
            <a:prstGeom prst="rect">
              <a:avLst/>
            </a:prstGeom>
          </p:spPr>
        </p:pic>
      </p:grpSp>
      <p:grpSp>
        <p:nvGrpSpPr>
          <p:cNvPr id="145" name="Gruppieren 144"/>
          <p:cNvGrpSpPr/>
          <p:nvPr/>
        </p:nvGrpSpPr>
        <p:grpSpPr>
          <a:xfrm>
            <a:off x="7003163" y="2166729"/>
            <a:ext cx="697111" cy="697111"/>
            <a:chOff x="3022833" y="4005064"/>
            <a:chExt cx="697111" cy="697111"/>
          </a:xfrm>
        </p:grpSpPr>
        <p:sp>
          <p:nvSpPr>
            <p:cNvPr id="146" name="Ellipse 145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7" name="Grafik 14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9303" y="4161534"/>
              <a:ext cx="384172" cy="384172"/>
            </a:xfrm>
            <a:prstGeom prst="rect">
              <a:avLst/>
            </a:prstGeom>
          </p:spPr>
        </p:pic>
      </p:grpSp>
      <p:grpSp>
        <p:nvGrpSpPr>
          <p:cNvPr id="148" name="Gruppieren 147"/>
          <p:cNvGrpSpPr/>
          <p:nvPr/>
        </p:nvGrpSpPr>
        <p:grpSpPr>
          <a:xfrm>
            <a:off x="8649546" y="2166729"/>
            <a:ext cx="697111" cy="697111"/>
            <a:chOff x="4655699" y="4005064"/>
            <a:chExt cx="697111" cy="697111"/>
          </a:xfrm>
        </p:grpSpPr>
        <p:sp>
          <p:nvSpPr>
            <p:cNvPr id="149" name="Ellipse 148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0" name="Grafik 14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908" y="4141273"/>
              <a:ext cx="424694" cy="424694"/>
            </a:xfrm>
            <a:prstGeom prst="rect">
              <a:avLst/>
            </a:prstGeom>
          </p:spPr>
        </p:pic>
      </p:grpSp>
      <p:sp>
        <p:nvSpPr>
          <p:cNvPr id="163" name="Titel 2"/>
          <p:cNvSpPr txBox="1">
            <a:spLocks/>
          </p:cNvSpPr>
          <p:nvPr/>
        </p:nvSpPr>
        <p:spPr>
          <a:xfrm>
            <a:off x="2064000" y="2950304"/>
            <a:ext cx="8064500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Pfeile</a:t>
            </a:r>
          </a:p>
        </p:txBody>
      </p:sp>
      <p:grpSp>
        <p:nvGrpSpPr>
          <p:cNvPr id="164" name="Gruppieren 163"/>
          <p:cNvGrpSpPr/>
          <p:nvPr/>
        </p:nvGrpSpPr>
        <p:grpSpPr>
          <a:xfrm>
            <a:off x="2064005" y="3447949"/>
            <a:ext cx="697111" cy="697111"/>
            <a:chOff x="573534" y="2155825"/>
            <a:chExt cx="697111" cy="697111"/>
          </a:xfrm>
        </p:grpSpPr>
        <p:sp>
          <p:nvSpPr>
            <p:cNvPr id="165" name="Ellipse 164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6" name="Grafik 165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513" y="2283804"/>
              <a:ext cx="441154" cy="441154"/>
            </a:xfrm>
            <a:prstGeom prst="rect">
              <a:avLst/>
            </a:prstGeom>
          </p:spPr>
        </p:pic>
      </p:grpSp>
      <p:grpSp>
        <p:nvGrpSpPr>
          <p:cNvPr id="167" name="Gruppieren 166"/>
          <p:cNvGrpSpPr/>
          <p:nvPr/>
        </p:nvGrpSpPr>
        <p:grpSpPr>
          <a:xfrm>
            <a:off x="3704323" y="3447949"/>
            <a:ext cx="697111" cy="697111"/>
            <a:chOff x="2206400" y="2155825"/>
            <a:chExt cx="697111" cy="697111"/>
          </a:xfrm>
        </p:grpSpPr>
        <p:sp>
          <p:nvSpPr>
            <p:cNvPr id="168" name="Ellipse 167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9" name="Grafik 168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2848" y="2282273"/>
              <a:ext cx="444218" cy="444218"/>
            </a:xfrm>
            <a:prstGeom prst="rect">
              <a:avLst/>
            </a:prstGeom>
          </p:spPr>
        </p:pic>
      </p:grpSp>
      <p:grpSp>
        <p:nvGrpSpPr>
          <p:cNvPr id="170" name="Gruppieren 169"/>
          <p:cNvGrpSpPr/>
          <p:nvPr/>
        </p:nvGrpSpPr>
        <p:grpSpPr>
          <a:xfrm>
            <a:off x="5344641" y="3447949"/>
            <a:ext cx="697111" cy="697111"/>
            <a:chOff x="3839266" y="2155825"/>
            <a:chExt cx="697111" cy="697111"/>
          </a:xfrm>
        </p:grpSpPr>
        <p:sp>
          <p:nvSpPr>
            <p:cNvPr id="171" name="Ellipse 170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2" name="Grafik 171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73" name="Gruppieren 172"/>
          <p:cNvGrpSpPr/>
          <p:nvPr/>
        </p:nvGrpSpPr>
        <p:grpSpPr>
          <a:xfrm>
            <a:off x="2884164" y="3447949"/>
            <a:ext cx="697111" cy="697111"/>
            <a:chOff x="1389967" y="2155825"/>
            <a:chExt cx="697111" cy="697111"/>
          </a:xfrm>
        </p:grpSpPr>
        <p:sp>
          <p:nvSpPr>
            <p:cNvPr id="174" name="Ellipse 173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5" name="Grafik 174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6838" y="2282696"/>
              <a:ext cx="443370" cy="443370"/>
            </a:xfrm>
            <a:prstGeom prst="rect">
              <a:avLst/>
            </a:prstGeom>
          </p:spPr>
        </p:pic>
      </p:grpSp>
      <p:grpSp>
        <p:nvGrpSpPr>
          <p:cNvPr id="176" name="Gruppieren 175"/>
          <p:cNvGrpSpPr/>
          <p:nvPr/>
        </p:nvGrpSpPr>
        <p:grpSpPr>
          <a:xfrm>
            <a:off x="4524482" y="3447949"/>
            <a:ext cx="697111" cy="697111"/>
            <a:chOff x="3022833" y="2155825"/>
            <a:chExt cx="697111" cy="697111"/>
          </a:xfrm>
        </p:grpSpPr>
        <p:sp>
          <p:nvSpPr>
            <p:cNvPr id="177" name="Ellipse 176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8" name="Grafik 177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79" name="Gruppieren 178"/>
          <p:cNvGrpSpPr/>
          <p:nvPr/>
        </p:nvGrpSpPr>
        <p:grpSpPr>
          <a:xfrm>
            <a:off x="6164800" y="3447949"/>
            <a:ext cx="697111" cy="697111"/>
            <a:chOff x="4655699" y="2155825"/>
            <a:chExt cx="697111" cy="697111"/>
          </a:xfrm>
        </p:grpSpPr>
        <p:sp>
          <p:nvSpPr>
            <p:cNvPr id="180" name="Ellipse 179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1" name="Grafik 180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82" name="Gruppieren 181"/>
          <p:cNvGrpSpPr/>
          <p:nvPr/>
        </p:nvGrpSpPr>
        <p:grpSpPr>
          <a:xfrm>
            <a:off x="7805118" y="3447949"/>
            <a:ext cx="697111" cy="697111"/>
            <a:chOff x="7104998" y="4941168"/>
            <a:chExt cx="697111" cy="697111"/>
          </a:xfrm>
        </p:grpSpPr>
        <p:sp>
          <p:nvSpPr>
            <p:cNvPr id="183" name="Ellipse 182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4" name="Grafik 183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7556" y="5103726"/>
              <a:ext cx="371996" cy="371996"/>
            </a:xfrm>
            <a:prstGeom prst="rect">
              <a:avLst/>
            </a:prstGeom>
          </p:spPr>
        </p:pic>
      </p:grpSp>
      <p:grpSp>
        <p:nvGrpSpPr>
          <p:cNvPr id="185" name="Gruppieren 184"/>
          <p:cNvGrpSpPr/>
          <p:nvPr/>
        </p:nvGrpSpPr>
        <p:grpSpPr>
          <a:xfrm>
            <a:off x="8625277" y="3447949"/>
            <a:ext cx="697111" cy="697111"/>
            <a:chOff x="7921427" y="4941168"/>
            <a:chExt cx="697111" cy="697111"/>
          </a:xfrm>
        </p:grpSpPr>
        <p:sp>
          <p:nvSpPr>
            <p:cNvPr id="186" name="Ellipse 185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7" name="Grafik 186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2878" y="5102619"/>
              <a:ext cx="374210" cy="374210"/>
            </a:xfrm>
            <a:prstGeom prst="rect">
              <a:avLst/>
            </a:prstGeom>
          </p:spPr>
        </p:pic>
      </p:grpSp>
      <p:grpSp>
        <p:nvGrpSpPr>
          <p:cNvPr id="188" name="Gruppieren 187"/>
          <p:cNvGrpSpPr/>
          <p:nvPr/>
        </p:nvGrpSpPr>
        <p:grpSpPr>
          <a:xfrm>
            <a:off x="2064005" y="4332164"/>
            <a:ext cx="697111" cy="697111"/>
            <a:chOff x="573534" y="2155825"/>
            <a:chExt cx="697111" cy="697111"/>
          </a:xfrm>
        </p:grpSpPr>
        <p:sp>
          <p:nvSpPr>
            <p:cNvPr id="189" name="Ellipse 188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0" name="Grafik 189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046" y="2275337"/>
              <a:ext cx="458088" cy="458088"/>
            </a:xfrm>
            <a:prstGeom prst="rect">
              <a:avLst/>
            </a:prstGeom>
          </p:spPr>
        </p:pic>
      </p:grpSp>
      <p:grpSp>
        <p:nvGrpSpPr>
          <p:cNvPr id="191" name="Gruppieren 190"/>
          <p:cNvGrpSpPr/>
          <p:nvPr/>
        </p:nvGrpSpPr>
        <p:grpSpPr>
          <a:xfrm>
            <a:off x="2888821" y="4332164"/>
            <a:ext cx="697111" cy="697111"/>
            <a:chOff x="2206400" y="2155825"/>
            <a:chExt cx="697111" cy="697111"/>
          </a:xfrm>
        </p:grpSpPr>
        <p:sp>
          <p:nvSpPr>
            <p:cNvPr id="192" name="Ellipse 191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3" name="Grafik 192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4863" y="2304288"/>
              <a:ext cx="400188" cy="400188"/>
            </a:xfrm>
            <a:prstGeom prst="rect">
              <a:avLst/>
            </a:prstGeom>
          </p:spPr>
        </p:pic>
      </p:grpSp>
      <p:grpSp>
        <p:nvGrpSpPr>
          <p:cNvPr id="194" name="Gruppieren 193"/>
          <p:cNvGrpSpPr/>
          <p:nvPr/>
        </p:nvGrpSpPr>
        <p:grpSpPr>
          <a:xfrm>
            <a:off x="3713637" y="4332164"/>
            <a:ext cx="697111" cy="697111"/>
            <a:chOff x="7104998" y="4941168"/>
            <a:chExt cx="697111" cy="697111"/>
          </a:xfrm>
        </p:grpSpPr>
        <p:sp>
          <p:nvSpPr>
            <p:cNvPr id="195" name="Ellipse 194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6" name="Grafik 195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009" y="5093179"/>
              <a:ext cx="393090" cy="393090"/>
            </a:xfrm>
            <a:prstGeom prst="rect">
              <a:avLst/>
            </a:prstGeom>
          </p:spPr>
        </p:pic>
      </p:grpSp>
      <p:grpSp>
        <p:nvGrpSpPr>
          <p:cNvPr id="197" name="Gruppieren 196"/>
          <p:cNvGrpSpPr/>
          <p:nvPr/>
        </p:nvGrpSpPr>
        <p:grpSpPr>
          <a:xfrm>
            <a:off x="6984959" y="3447949"/>
            <a:ext cx="697111" cy="697111"/>
            <a:chOff x="7921427" y="4941168"/>
            <a:chExt cx="697111" cy="697111"/>
          </a:xfrm>
        </p:grpSpPr>
        <p:sp>
          <p:nvSpPr>
            <p:cNvPr id="198" name="Ellipse 197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9" name="Grafik 198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4882" y="5100024"/>
              <a:ext cx="379400" cy="379400"/>
            </a:xfrm>
            <a:prstGeom prst="rect">
              <a:avLst/>
            </a:prstGeom>
          </p:spPr>
        </p:pic>
      </p:grpSp>
      <p:grpSp>
        <p:nvGrpSpPr>
          <p:cNvPr id="200" name="Gruppieren 199"/>
          <p:cNvGrpSpPr/>
          <p:nvPr/>
        </p:nvGrpSpPr>
        <p:grpSpPr>
          <a:xfrm>
            <a:off x="4538453" y="4332164"/>
            <a:ext cx="697111" cy="697111"/>
            <a:chOff x="573534" y="2155825"/>
            <a:chExt cx="697111" cy="697111"/>
          </a:xfrm>
        </p:grpSpPr>
        <p:sp>
          <p:nvSpPr>
            <p:cNvPr id="201" name="Ellipse 200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2" name="Grafik 201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094" y="2311385"/>
              <a:ext cx="385992" cy="385992"/>
            </a:xfrm>
            <a:prstGeom prst="rect">
              <a:avLst/>
            </a:prstGeom>
          </p:spPr>
        </p:pic>
      </p:grpSp>
      <p:grpSp>
        <p:nvGrpSpPr>
          <p:cNvPr id="203" name="Gruppieren 202"/>
          <p:cNvGrpSpPr/>
          <p:nvPr/>
        </p:nvGrpSpPr>
        <p:grpSpPr>
          <a:xfrm>
            <a:off x="9445432" y="3447949"/>
            <a:ext cx="697111" cy="697111"/>
            <a:chOff x="5472132" y="2155825"/>
            <a:chExt cx="697111" cy="697111"/>
          </a:xfrm>
        </p:grpSpPr>
        <p:sp>
          <p:nvSpPr>
            <p:cNvPr id="204" name="Ellipse 203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5" name="Grafik 204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8604" y="2282297"/>
              <a:ext cx="444168" cy="444168"/>
            </a:xfrm>
            <a:prstGeom prst="rect">
              <a:avLst/>
            </a:prstGeom>
          </p:spPr>
        </p:pic>
      </p:grpSp>
      <p:grpSp>
        <p:nvGrpSpPr>
          <p:cNvPr id="206" name="Gruppieren 205"/>
          <p:cNvGrpSpPr/>
          <p:nvPr/>
        </p:nvGrpSpPr>
        <p:grpSpPr>
          <a:xfrm>
            <a:off x="5363271" y="4332164"/>
            <a:ext cx="697111" cy="697111"/>
            <a:chOff x="1389967" y="2155825"/>
            <a:chExt cx="697111" cy="697111"/>
          </a:xfrm>
        </p:grpSpPr>
        <p:sp>
          <p:nvSpPr>
            <p:cNvPr id="207" name="Ellipse 206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8" name="Grafik 207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5141" y="2310999"/>
              <a:ext cx="386764" cy="386764"/>
            </a:xfrm>
            <a:prstGeom prst="rect">
              <a:avLst/>
            </a:prstGeom>
          </p:spPr>
        </p:pic>
      </p:grpSp>
      <p:grpSp>
        <p:nvGrpSpPr>
          <p:cNvPr id="209" name="Gruppieren 208"/>
          <p:cNvGrpSpPr/>
          <p:nvPr/>
        </p:nvGrpSpPr>
        <p:grpSpPr>
          <a:xfrm>
            <a:off x="6167130" y="5599423"/>
            <a:ext cx="697111" cy="697111"/>
            <a:chOff x="5472132" y="2155825"/>
            <a:chExt cx="697111" cy="697111"/>
          </a:xfrm>
        </p:grpSpPr>
        <p:sp>
          <p:nvSpPr>
            <p:cNvPr id="210" name="Ellipse 209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1" name="Grafik 210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2302" y="2305995"/>
              <a:ext cx="396772" cy="396772"/>
            </a:xfrm>
            <a:prstGeom prst="rect">
              <a:avLst/>
            </a:prstGeom>
          </p:spPr>
        </p:pic>
      </p:grpSp>
      <p:grpSp>
        <p:nvGrpSpPr>
          <p:cNvPr id="212" name="Gruppieren 211"/>
          <p:cNvGrpSpPr/>
          <p:nvPr/>
        </p:nvGrpSpPr>
        <p:grpSpPr>
          <a:xfrm>
            <a:off x="8629003" y="5589245"/>
            <a:ext cx="697111" cy="697111"/>
            <a:chOff x="7104998" y="2155825"/>
            <a:chExt cx="697111" cy="697111"/>
          </a:xfrm>
        </p:grpSpPr>
        <p:sp>
          <p:nvSpPr>
            <p:cNvPr id="213" name="Ellipse 212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4" name="Grafik 213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9375" y="2270202"/>
              <a:ext cx="468358" cy="468358"/>
            </a:xfrm>
            <a:prstGeom prst="rect">
              <a:avLst/>
            </a:prstGeom>
          </p:spPr>
        </p:pic>
      </p:grpSp>
      <p:grpSp>
        <p:nvGrpSpPr>
          <p:cNvPr id="215" name="Gruppieren 214"/>
          <p:cNvGrpSpPr/>
          <p:nvPr/>
        </p:nvGrpSpPr>
        <p:grpSpPr>
          <a:xfrm>
            <a:off x="7808380" y="5599423"/>
            <a:ext cx="697111" cy="697111"/>
            <a:chOff x="7921427" y="2155825"/>
            <a:chExt cx="697111" cy="697111"/>
          </a:xfrm>
        </p:grpSpPr>
        <p:sp>
          <p:nvSpPr>
            <p:cNvPr id="216" name="Ellipse 215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7" name="Grafik 216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18" name="Gruppieren 217"/>
          <p:cNvGrpSpPr/>
          <p:nvPr/>
        </p:nvGrpSpPr>
        <p:grpSpPr>
          <a:xfrm>
            <a:off x="6987755" y="5599423"/>
            <a:ext cx="697111" cy="697111"/>
            <a:chOff x="6288565" y="2155825"/>
            <a:chExt cx="697111" cy="697111"/>
          </a:xfrm>
        </p:grpSpPr>
        <p:sp>
          <p:nvSpPr>
            <p:cNvPr id="219" name="Ellipse 218"/>
            <p:cNvSpPr/>
            <p:nvPr/>
          </p:nvSpPr>
          <p:spPr>
            <a:xfrm>
              <a:off x="6288565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0" name="Grafik 219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21" name="Gruppieren 220"/>
          <p:cNvGrpSpPr/>
          <p:nvPr/>
        </p:nvGrpSpPr>
        <p:grpSpPr>
          <a:xfrm>
            <a:off x="2064005" y="5599423"/>
            <a:ext cx="697111" cy="697111"/>
            <a:chOff x="573534" y="3068960"/>
            <a:chExt cx="697111" cy="697111"/>
          </a:xfrm>
        </p:grpSpPr>
        <p:sp>
          <p:nvSpPr>
            <p:cNvPr id="222" name="Ellipse 221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3" name="Grafik 222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1251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24" name="Gruppieren 223"/>
          <p:cNvGrpSpPr/>
          <p:nvPr/>
        </p:nvGrpSpPr>
        <p:grpSpPr>
          <a:xfrm>
            <a:off x="2884630" y="5599423"/>
            <a:ext cx="697111" cy="697111"/>
            <a:chOff x="1389967" y="3068960"/>
            <a:chExt cx="697111" cy="697111"/>
          </a:xfrm>
        </p:grpSpPr>
        <p:sp>
          <p:nvSpPr>
            <p:cNvPr id="225" name="Ellipse 224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6" name="Grafik 225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4237" y="3213230"/>
              <a:ext cx="408572" cy="408572"/>
            </a:xfrm>
            <a:prstGeom prst="rect">
              <a:avLst/>
            </a:prstGeom>
          </p:spPr>
        </p:pic>
      </p:grpSp>
      <p:grpSp>
        <p:nvGrpSpPr>
          <p:cNvPr id="227" name="Gruppieren 226"/>
          <p:cNvGrpSpPr/>
          <p:nvPr/>
        </p:nvGrpSpPr>
        <p:grpSpPr>
          <a:xfrm>
            <a:off x="4525880" y="5596306"/>
            <a:ext cx="697111" cy="697111"/>
            <a:chOff x="2206400" y="4941168"/>
            <a:chExt cx="697111" cy="697111"/>
          </a:xfrm>
        </p:grpSpPr>
        <p:sp>
          <p:nvSpPr>
            <p:cNvPr id="228" name="Ellipse 227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9" name="Grafik 228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30" name="Gruppieren 229"/>
          <p:cNvGrpSpPr/>
          <p:nvPr/>
        </p:nvGrpSpPr>
        <p:grpSpPr>
          <a:xfrm>
            <a:off x="3705255" y="5596306"/>
            <a:ext cx="697111" cy="697111"/>
            <a:chOff x="1389967" y="4941168"/>
            <a:chExt cx="697111" cy="697111"/>
          </a:xfrm>
        </p:grpSpPr>
        <p:sp>
          <p:nvSpPr>
            <p:cNvPr id="231" name="Ellipse 230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2" name="Grafik 231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2063" y="5076330"/>
              <a:ext cx="426788" cy="426788"/>
            </a:xfrm>
            <a:prstGeom prst="rect">
              <a:avLst/>
            </a:prstGeom>
          </p:spPr>
        </p:pic>
      </p:grpSp>
      <p:grpSp>
        <p:nvGrpSpPr>
          <p:cNvPr id="233" name="Gruppieren 232"/>
          <p:cNvGrpSpPr/>
          <p:nvPr/>
        </p:nvGrpSpPr>
        <p:grpSpPr>
          <a:xfrm>
            <a:off x="5346505" y="5596306"/>
            <a:ext cx="697111" cy="697111"/>
            <a:chOff x="3022833" y="4941168"/>
            <a:chExt cx="697111" cy="697111"/>
          </a:xfrm>
        </p:grpSpPr>
        <p:sp>
          <p:nvSpPr>
            <p:cNvPr id="234" name="Ellipse 233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5" name="Grafik 234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5053484"/>
              <a:ext cx="472480" cy="472480"/>
            </a:xfrm>
            <a:prstGeom prst="rect">
              <a:avLst/>
            </a:prstGeom>
          </p:spPr>
        </p:pic>
      </p:grpSp>
      <p:sp>
        <p:nvSpPr>
          <p:cNvPr id="236" name="Titel 2"/>
          <p:cNvSpPr txBox="1">
            <a:spLocks/>
          </p:cNvSpPr>
          <p:nvPr/>
        </p:nvSpPr>
        <p:spPr>
          <a:xfrm>
            <a:off x="2064000" y="5175321"/>
            <a:ext cx="8064500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enschen</a:t>
            </a:r>
          </a:p>
        </p:txBody>
      </p:sp>
      <p:grpSp>
        <p:nvGrpSpPr>
          <p:cNvPr id="105" name="Gruppieren 104"/>
          <p:cNvGrpSpPr/>
          <p:nvPr/>
        </p:nvGrpSpPr>
        <p:grpSpPr>
          <a:xfrm>
            <a:off x="9445432" y="2166729"/>
            <a:ext cx="697111" cy="697111"/>
            <a:chOff x="4655699" y="4005064"/>
            <a:chExt cx="697111" cy="697111"/>
          </a:xfrm>
        </p:grpSpPr>
        <p:sp>
          <p:nvSpPr>
            <p:cNvPr id="106" name="Ellipse 105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7" name="Grafik 106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0638" y="4140003"/>
              <a:ext cx="427234" cy="4272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04430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3999" y="2340005"/>
            <a:ext cx="7668000" cy="461665"/>
          </a:xfrm>
        </p:spPr>
        <p:txBody>
          <a:bodyPr>
            <a:spAutoFit/>
          </a:bodyPr>
          <a:lstStyle/>
          <a:p>
            <a:r>
              <a:rPr lang="de-DE" dirty="0" smtClean="0"/>
              <a:t>Anordnung, Größe sowie Farbigkeit spielen eine </a:t>
            </a:r>
            <a:br>
              <a:rPr lang="de-DE" dirty="0" smtClean="0"/>
            </a:br>
            <a:r>
              <a:rPr lang="de-DE" dirty="0" smtClean="0"/>
              <a:t>wichtige Rolle.</a:t>
            </a:r>
            <a:endParaRPr lang="de-DE" dirty="0"/>
          </a:p>
        </p:txBody>
      </p:sp>
      <p:sp>
        <p:nvSpPr>
          <p:cNvPr id="10" name="Ellipse 9"/>
          <p:cNvSpPr/>
          <p:nvPr/>
        </p:nvSpPr>
        <p:spPr>
          <a:xfrm>
            <a:off x="2549877" y="3488032"/>
            <a:ext cx="1374287" cy="137428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1600" b="1" dirty="0" err="1"/>
              <a:t>Text</a:t>
            </a:r>
            <a:endParaRPr lang="fr-FR" sz="1600" b="1" dirty="0"/>
          </a:p>
        </p:txBody>
      </p:sp>
      <p:sp>
        <p:nvSpPr>
          <p:cNvPr id="11" name="Ellipse 10"/>
          <p:cNvSpPr/>
          <p:nvPr/>
        </p:nvSpPr>
        <p:spPr>
          <a:xfrm>
            <a:off x="3719736" y="3919364"/>
            <a:ext cx="1885900" cy="18859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2000" b="1" dirty="0" err="1"/>
              <a:t>Text</a:t>
            </a:r>
            <a:endParaRPr lang="fr-FR" sz="2000" b="1" dirty="0"/>
          </a:p>
        </p:txBody>
      </p:sp>
      <p:sp>
        <p:nvSpPr>
          <p:cNvPr id="12" name="Ellipse 11"/>
          <p:cNvSpPr/>
          <p:nvPr/>
        </p:nvSpPr>
        <p:spPr>
          <a:xfrm>
            <a:off x="4953142" y="2751479"/>
            <a:ext cx="1656184" cy="165618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1600" b="1" dirty="0" err="1"/>
              <a:t>Text</a:t>
            </a:r>
            <a:endParaRPr lang="fr-FR" sz="1600" b="1" dirty="0"/>
          </a:p>
        </p:txBody>
      </p:sp>
      <p:sp>
        <p:nvSpPr>
          <p:cNvPr id="13" name="Ellipse 12"/>
          <p:cNvSpPr/>
          <p:nvPr/>
        </p:nvSpPr>
        <p:spPr>
          <a:xfrm>
            <a:off x="8198468" y="3645024"/>
            <a:ext cx="1885900" cy="18859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2000" b="1" dirty="0" err="1"/>
              <a:t>Text</a:t>
            </a:r>
            <a:endParaRPr lang="fr-FR" sz="2000" b="1" dirty="0"/>
          </a:p>
        </p:txBody>
      </p:sp>
      <p:sp>
        <p:nvSpPr>
          <p:cNvPr id="14" name="Ellipse 13"/>
          <p:cNvSpPr/>
          <p:nvPr/>
        </p:nvSpPr>
        <p:spPr>
          <a:xfrm>
            <a:off x="6761738" y="1761983"/>
            <a:ext cx="2379680" cy="23796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fr-FR" sz="2800" b="1" dirty="0" err="1"/>
              <a:t>Text</a:t>
            </a:r>
            <a:endParaRPr lang="fr-FR" sz="2800" b="1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7841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ingekerbter Richtungspfeil 8"/>
          <p:cNvSpPr/>
          <p:nvPr/>
        </p:nvSpPr>
        <p:spPr>
          <a:xfrm>
            <a:off x="6997448" y="4797152"/>
            <a:ext cx="2417874" cy="720000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15" name="Richtungspfeil 14"/>
          <p:cNvSpPr/>
          <p:nvPr/>
        </p:nvSpPr>
        <p:spPr>
          <a:xfrm>
            <a:off x="3979828" y="4797152"/>
            <a:ext cx="3132000" cy="720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16" name="Richtungspfeil 15"/>
          <p:cNvSpPr/>
          <p:nvPr/>
        </p:nvSpPr>
        <p:spPr>
          <a:xfrm>
            <a:off x="3979828" y="2875050"/>
            <a:ext cx="3132000" cy="720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17" name="Richtungspfeil 16"/>
          <p:cNvSpPr/>
          <p:nvPr/>
        </p:nvSpPr>
        <p:spPr>
          <a:xfrm>
            <a:off x="4865963" y="3839094"/>
            <a:ext cx="2559237" cy="720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18" name="Eingekerbter Richtungspfeil 17"/>
          <p:cNvSpPr/>
          <p:nvPr/>
        </p:nvSpPr>
        <p:spPr>
          <a:xfrm>
            <a:off x="6996408" y="2875050"/>
            <a:ext cx="2772000" cy="720000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19" name="Eingekerbter Richtungspfeil 18"/>
          <p:cNvSpPr/>
          <p:nvPr/>
        </p:nvSpPr>
        <p:spPr>
          <a:xfrm>
            <a:off x="7348014" y="3839094"/>
            <a:ext cx="2852442" cy="720000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0" bIns="0" rtlCol="0" anchor="ctr"/>
          <a:lstStyle/>
          <a:p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</a:p>
        </p:txBody>
      </p:sp>
      <p:sp>
        <p:nvSpPr>
          <p:cNvPr id="20" name="Ellipse 19"/>
          <p:cNvSpPr/>
          <p:nvPr/>
        </p:nvSpPr>
        <p:spPr>
          <a:xfrm>
            <a:off x="1991544" y="2730954"/>
            <a:ext cx="3060000" cy="3060000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b="1" dirty="0">
                <a:latin typeface="Arial" pitchFamily="34" charset="0"/>
                <a:cs typeface="Arial" pitchFamily="34" charset="0"/>
              </a:rPr>
              <a:t>Text</a:t>
            </a:r>
            <a:endParaRPr lang="de-DE" sz="25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484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Abgerundetes Rechteck 9"/>
          <p:cNvSpPr/>
          <p:nvPr/>
        </p:nvSpPr>
        <p:spPr>
          <a:xfrm>
            <a:off x="2373348" y="2852936"/>
            <a:ext cx="1584176" cy="264056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de-DE" sz="1300" b="1" dirty="0"/>
              <a:t> In </a:t>
            </a:r>
            <a:r>
              <a:rPr lang="de-DE" sz="1300" b="1" dirty="0" err="1"/>
              <a:t>enim</a:t>
            </a:r>
            <a:r>
              <a:rPr lang="de-DE" sz="1300" b="1" dirty="0"/>
              <a:t> </a:t>
            </a:r>
            <a:r>
              <a:rPr lang="de-DE" sz="1300" b="1" dirty="0" err="1"/>
              <a:t>justo</a:t>
            </a:r>
            <a:r>
              <a:rPr lang="de-DE" sz="1300" b="1" dirty="0"/>
              <a:t>, </a:t>
            </a:r>
            <a:r>
              <a:rPr lang="de-DE" sz="1300" b="1" dirty="0" err="1"/>
              <a:t>rhoncus</a:t>
            </a:r>
            <a:r>
              <a:rPr lang="de-DE" sz="1300" b="1" dirty="0"/>
              <a:t> </a:t>
            </a:r>
            <a:r>
              <a:rPr lang="de-DE" sz="1300" b="1" dirty="0" err="1"/>
              <a:t>ut</a:t>
            </a:r>
            <a:r>
              <a:rPr lang="de-DE" sz="1300" b="1" dirty="0"/>
              <a:t>, </a:t>
            </a:r>
            <a:r>
              <a:rPr lang="de-DE" sz="1300" b="1" dirty="0" err="1"/>
              <a:t>imperdiet</a:t>
            </a:r>
            <a:r>
              <a:rPr lang="de-DE" sz="1300" b="1" dirty="0"/>
              <a:t> a, </a:t>
            </a:r>
            <a:r>
              <a:rPr lang="de-DE" sz="1300" b="1" dirty="0" err="1"/>
              <a:t>venenatis</a:t>
            </a:r>
            <a:r>
              <a:rPr lang="de-DE" sz="1300" b="1" dirty="0"/>
              <a:t> </a:t>
            </a:r>
            <a:r>
              <a:rPr lang="de-DE" sz="1300" b="1" dirty="0" err="1"/>
              <a:t>vitae</a:t>
            </a:r>
            <a:r>
              <a:rPr lang="de-DE" sz="1300" b="1" dirty="0"/>
              <a:t>, </a:t>
            </a:r>
            <a:r>
              <a:rPr lang="de-DE" sz="1300" b="1" dirty="0" err="1"/>
              <a:t>justo</a:t>
            </a:r>
            <a:r>
              <a:rPr lang="de-DE" sz="1300" b="1" dirty="0"/>
              <a:t>. </a:t>
            </a:r>
            <a:r>
              <a:rPr lang="de-DE" sz="1300" b="1" dirty="0" err="1"/>
              <a:t>Nullam</a:t>
            </a:r>
            <a:r>
              <a:rPr lang="de-DE" sz="1300" b="1" dirty="0"/>
              <a:t> </a:t>
            </a:r>
            <a:r>
              <a:rPr lang="de-DE" sz="1300" b="1" dirty="0" err="1"/>
              <a:t>dictum</a:t>
            </a:r>
            <a:r>
              <a:rPr lang="de-DE" sz="1300" b="1" dirty="0"/>
              <a:t> </a:t>
            </a:r>
            <a:r>
              <a:rPr lang="de-DE" sz="1300" b="1" dirty="0" err="1"/>
              <a:t>felis</a:t>
            </a:r>
            <a:r>
              <a:rPr lang="de-DE" sz="1300" b="1" dirty="0"/>
              <a:t> </a:t>
            </a:r>
            <a:r>
              <a:rPr lang="de-DE" sz="1300" b="1" dirty="0" err="1"/>
              <a:t>eu</a:t>
            </a:r>
            <a:r>
              <a:rPr lang="de-DE" sz="1300" b="1" dirty="0"/>
              <a:t> </a:t>
            </a:r>
            <a:r>
              <a:rPr lang="de-DE" sz="1300" b="1" dirty="0" err="1"/>
              <a:t>pede</a:t>
            </a:r>
            <a:r>
              <a:rPr lang="de-DE" sz="1300" b="1" dirty="0"/>
              <a:t> </a:t>
            </a:r>
            <a:r>
              <a:rPr lang="de-DE" sz="1300" b="1" dirty="0" err="1"/>
              <a:t>mollis</a:t>
            </a:r>
            <a:r>
              <a:rPr lang="de-DE" sz="1300" b="1" dirty="0"/>
              <a:t> </a:t>
            </a:r>
            <a:r>
              <a:rPr lang="de-DE" sz="1300" b="1" dirty="0" err="1"/>
              <a:t>pretium</a:t>
            </a:r>
            <a:r>
              <a:rPr lang="de-DE" sz="1300" b="1" dirty="0"/>
              <a:t>. Integer </a:t>
            </a:r>
            <a:r>
              <a:rPr lang="de-DE" sz="1300" b="1" dirty="0" err="1"/>
              <a:t>tincidunt</a:t>
            </a:r>
            <a:r>
              <a:rPr lang="de-DE" sz="1300" b="1" dirty="0"/>
              <a:t>.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4310310" y="2852936"/>
            <a:ext cx="1584176" cy="264056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de-DE" sz="1300" b="1" dirty="0"/>
              <a:t> In </a:t>
            </a:r>
            <a:r>
              <a:rPr lang="de-DE" sz="1300" b="1" dirty="0" err="1"/>
              <a:t>enim</a:t>
            </a:r>
            <a:r>
              <a:rPr lang="de-DE" sz="1300" b="1" dirty="0"/>
              <a:t> </a:t>
            </a:r>
            <a:r>
              <a:rPr lang="de-DE" sz="1300" b="1" dirty="0" err="1"/>
              <a:t>justo</a:t>
            </a:r>
            <a:r>
              <a:rPr lang="de-DE" sz="1300" b="1" dirty="0"/>
              <a:t>, </a:t>
            </a:r>
            <a:r>
              <a:rPr lang="de-DE" sz="1300" b="1" dirty="0" err="1"/>
              <a:t>rhoncus</a:t>
            </a:r>
            <a:r>
              <a:rPr lang="de-DE" sz="1300" b="1" dirty="0"/>
              <a:t> </a:t>
            </a:r>
            <a:r>
              <a:rPr lang="de-DE" sz="1300" b="1" dirty="0" err="1"/>
              <a:t>ut</a:t>
            </a:r>
            <a:r>
              <a:rPr lang="de-DE" sz="1300" b="1" dirty="0"/>
              <a:t>, </a:t>
            </a:r>
            <a:r>
              <a:rPr lang="de-DE" sz="1300" b="1" dirty="0" err="1"/>
              <a:t>imperdiet</a:t>
            </a:r>
            <a:r>
              <a:rPr lang="de-DE" sz="1300" b="1" dirty="0"/>
              <a:t> a, </a:t>
            </a:r>
            <a:r>
              <a:rPr lang="de-DE" sz="1300" b="1" dirty="0" err="1"/>
              <a:t>venenatis</a:t>
            </a:r>
            <a:r>
              <a:rPr lang="de-DE" sz="1300" b="1" dirty="0"/>
              <a:t> </a:t>
            </a:r>
            <a:r>
              <a:rPr lang="de-DE" sz="1300" b="1" dirty="0" err="1"/>
              <a:t>vitae</a:t>
            </a:r>
            <a:r>
              <a:rPr lang="de-DE" sz="1300" b="1" dirty="0"/>
              <a:t>, </a:t>
            </a:r>
            <a:r>
              <a:rPr lang="de-DE" sz="1300" b="1" dirty="0" err="1"/>
              <a:t>justo</a:t>
            </a:r>
            <a:r>
              <a:rPr lang="de-DE" sz="1300" b="1" dirty="0"/>
              <a:t>. </a:t>
            </a:r>
            <a:r>
              <a:rPr lang="de-DE" sz="1300" b="1" dirty="0" err="1"/>
              <a:t>Nullam</a:t>
            </a:r>
            <a:r>
              <a:rPr lang="de-DE" sz="1300" b="1" dirty="0"/>
              <a:t> </a:t>
            </a:r>
            <a:r>
              <a:rPr lang="de-DE" sz="1300" b="1" dirty="0" err="1"/>
              <a:t>dictum</a:t>
            </a:r>
            <a:r>
              <a:rPr lang="de-DE" sz="1300" b="1" dirty="0"/>
              <a:t> </a:t>
            </a:r>
            <a:r>
              <a:rPr lang="de-DE" sz="1300" b="1" dirty="0" err="1"/>
              <a:t>felis</a:t>
            </a:r>
            <a:r>
              <a:rPr lang="de-DE" sz="1300" b="1" dirty="0"/>
              <a:t> </a:t>
            </a:r>
            <a:r>
              <a:rPr lang="de-DE" sz="1300" b="1" dirty="0" err="1"/>
              <a:t>eu</a:t>
            </a:r>
            <a:r>
              <a:rPr lang="de-DE" sz="1300" b="1" dirty="0"/>
              <a:t> </a:t>
            </a:r>
            <a:r>
              <a:rPr lang="de-DE" sz="1300" b="1" dirty="0" err="1"/>
              <a:t>pede</a:t>
            </a:r>
            <a:r>
              <a:rPr lang="de-DE" sz="1300" b="1" dirty="0"/>
              <a:t> </a:t>
            </a:r>
            <a:r>
              <a:rPr lang="de-DE" sz="1300" b="1" dirty="0" err="1"/>
              <a:t>mollis</a:t>
            </a:r>
            <a:r>
              <a:rPr lang="de-DE" sz="1300" b="1" dirty="0"/>
              <a:t> </a:t>
            </a:r>
            <a:r>
              <a:rPr lang="de-DE" sz="1300" b="1" dirty="0" err="1"/>
              <a:t>pretium</a:t>
            </a:r>
            <a:r>
              <a:rPr lang="de-DE" sz="1300" b="1" dirty="0"/>
              <a:t>. Integer </a:t>
            </a:r>
            <a:r>
              <a:rPr lang="de-DE" sz="1300" b="1" dirty="0" err="1"/>
              <a:t>tincidunt</a:t>
            </a:r>
            <a:r>
              <a:rPr lang="de-DE" sz="1300" b="1" dirty="0"/>
              <a:t>.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6247272" y="2852936"/>
            <a:ext cx="1584176" cy="264056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de-DE" sz="1300" b="1" dirty="0"/>
              <a:t> In </a:t>
            </a:r>
            <a:r>
              <a:rPr lang="de-DE" sz="1300" b="1" dirty="0" err="1"/>
              <a:t>enim</a:t>
            </a:r>
            <a:r>
              <a:rPr lang="de-DE" sz="1300" b="1" dirty="0"/>
              <a:t> </a:t>
            </a:r>
            <a:r>
              <a:rPr lang="de-DE" sz="1300" b="1" dirty="0" err="1"/>
              <a:t>justo</a:t>
            </a:r>
            <a:r>
              <a:rPr lang="de-DE" sz="1300" b="1" dirty="0"/>
              <a:t>, </a:t>
            </a:r>
            <a:r>
              <a:rPr lang="de-DE" sz="1300" b="1" dirty="0" err="1"/>
              <a:t>rhoncus</a:t>
            </a:r>
            <a:r>
              <a:rPr lang="de-DE" sz="1300" b="1" dirty="0"/>
              <a:t> </a:t>
            </a:r>
            <a:r>
              <a:rPr lang="de-DE" sz="1300" b="1" dirty="0" err="1"/>
              <a:t>ut</a:t>
            </a:r>
            <a:r>
              <a:rPr lang="de-DE" sz="1300" b="1" dirty="0"/>
              <a:t>, </a:t>
            </a:r>
            <a:r>
              <a:rPr lang="de-DE" sz="1300" b="1" dirty="0" err="1"/>
              <a:t>imperdiet</a:t>
            </a:r>
            <a:r>
              <a:rPr lang="de-DE" sz="1300" b="1" dirty="0"/>
              <a:t> a, </a:t>
            </a:r>
            <a:r>
              <a:rPr lang="de-DE" sz="1300" b="1" dirty="0" err="1"/>
              <a:t>venenatis</a:t>
            </a:r>
            <a:r>
              <a:rPr lang="de-DE" sz="1300" b="1" dirty="0"/>
              <a:t> </a:t>
            </a:r>
            <a:r>
              <a:rPr lang="de-DE" sz="1300" b="1" dirty="0" err="1"/>
              <a:t>vitae</a:t>
            </a:r>
            <a:r>
              <a:rPr lang="de-DE" sz="1300" b="1" dirty="0"/>
              <a:t>, </a:t>
            </a:r>
            <a:r>
              <a:rPr lang="de-DE" sz="1300" b="1" dirty="0" err="1"/>
              <a:t>justo</a:t>
            </a:r>
            <a:r>
              <a:rPr lang="de-DE" sz="1300" b="1" dirty="0"/>
              <a:t>. </a:t>
            </a:r>
            <a:r>
              <a:rPr lang="de-DE" sz="1300" b="1" dirty="0" err="1"/>
              <a:t>Nullam</a:t>
            </a:r>
            <a:r>
              <a:rPr lang="de-DE" sz="1300" b="1" dirty="0"/>
              <a:t> </a:t>
            </a:r>
            <a:r>
              <a:rPr lang="de-DE" sz="1300" b="1" dirty="0" err="1"/>
              <a:t>dictum</a:t>
            </a:r>
            <a:r>
              <a:rPr lang="de-DE" sz="1300" b="1" dirty="0"/>
              <a:t> </a:t>
            </a:r>
            <a:r>
              <a:rPr lang="de-DE" sz="1300" b="1" dirty="0" err="1"/>
              <a:t>felis</a:t>
            </a:r>
            <a:r>
              <a:rPr lang="de-DE" sz="1300" b="1" dirty="0"/>
              <a:t> </a:t>
            </a:r>
            <a:r>
              <a:rPr lang="de-DE" sz="1300" b="1" dirty="0" err="1"/>
              <a:t>eu</a:t>
            </a:r>
            <a:r>
              <a:rPr lang="de-DE" sz="1300" b="1" dirty="0"/>
              <a:t> </a:t>
            </a:r>
            <a:r>
              <a:rPr lang="de-DE" sz="1300" b="1" dirty="0" err="1"/>
              <a:t>pede</a:t>
            </a:r>
            <a:r>
              <a:rPr lang="de-DE" sz="1300" b="1" dirty="0"/>
              <a:t> </a:t>
            </a:r>
            <a:r>
              <a:rPr lang="de-DE" sz="1300" b="1" dirty="0" err="1"/>
              <a:t>mollis</a:t>
            </a:r>
            <a:r>
              <a:rPr lang="de-DE" sz="1300" b="1" dirty="0"/>
              <a:t> </a:t>
            </a:r>
            <a:r>
              <a:rPr lang="de-DE" sz="1300" b="1" dirty="0" err="1"/>
              <a:t>pretium</a:t>
            </a:r>
            <a:r>
              <a:rPr lang="de-DE" sz="1300" b="1" dirty="0"/>
              <a:t>. Integer </a:t>
            </a:r>
            <a:r>
              <a:rPr lang="de-DE" sz="1300" b="1" dirty="0" err="1"/>
              <a:t>tincidunt</a:t>
            </a:r>
            <a:r>
              <a:rPr lang="de-DE" sz="1300" b="1" dirty="0"/>
              <a:t>.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8184232" y="2852936"/>
            <a:ext cx="1584176" cy="264056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de-DE" sz="1300" b="1" dirty="0"/>
              <a:t> In </a:t>
            </a:r>
            <a:r>
              <a:rPr lang="de-DE" sz="1300" b="1" dirty="0" err="1"/>
              <a:t>enim</a:t>
            </a:r>
            <a:r>
              <a:rPr lang="de-DE" sz="1300" b="1" dirty="0"/>
              <a:t> </a:t>
            </a:r>
            <a:r>
              <a:rPr lang="de-DE" sz="1300" b="1" dirty="0" err="1"/>
              <a:t>justo</a:t>
            </a:r>
            <a:r>
              <a:rPr lang="de-DE" sz="1300" b="1" dirty="0"/>
              <a:t>, </a:t>
            </a:r>
            <a:r>
              <a:rPr lang="de-DE" sz="1300" b="1" dirty="0" err="1"/>
              <a:t>rhoncus</a:t>
            </a:r>
            <a:r>
              <a:rPr lang="de-DE" sz="1300" b="1" dirty="0"/>
              <a:t> </a:t>
            </a:r>
            <a:r>
              <a:rPr lang="de-DE" sz="1300" b="1" dirty="0" err="1"/>
              <a:t>ut</a:t>
            </a:r>
            <a:r>
              <a:rPr lang="de-DE" sz="1300" b="1" dirty="0"/>
              <a:t>, </a:t>
            </a:r>
            <a:r>
              <a:rPr lang="de-DE" sz="1300" b="1" dirty="0" err="1"/>
              <a:t>imperdiet</a:t>
            </a:r>
            <a:r>
              <a:rPr lang="de-DE" sz="1300" b="1" dirty="0"/>
              <a:t> a, </a:t>
            </a:r>
            <a:r>
              <a:rPr lang="de-DE" sz="1300" b="1" dirty="0" err="1"/>
              <a:t>venenatis</a:t>
            </a:r>
            <a:r>
              <a:rPr lang="de-DE" sz="1300" b="1" dirty="0"/>
              <a:t> </a:t>
            </a:r>
            <a:r>
              <a:rPr lang="de-DE" sz="1300" b="1" dirty="0" err="1"/>
              <a:t>vitae</a:t>
            </a:r>
            <a:r>
              <a:rPr lang="de-DE" sz="1300" b="1" dirty="0"/>
              <a:t>, </a:t>
            </a:r>
            <a:r>
              <a:rPr lang="de-DE" sz="1300" b="1" dirty="0" err="1"/>
              <a:t>justo</a:t>
            </a:r>
            <a:r>
              <a:rPr lang="de-DE" sz="1300" b="1" dirty="0"/>
              <a:t>. </a:t>
            </a:r>
            <a:r>
              <a:rPr lang="de-DE" sz="1300" b="1" dirty="0" err="1"/>
              <a:t>Nullam</a:t>
            </a:r>
            <a:r>
              <a:rPr lang="de-DE" sz="1300" b="1" dirty="0"/>
              <a:t> </a:t>
            </a:r>
            <a:r>
              <a:rPr lang="de-DE" sz="1300" b="1" dirty="0" err="1"/>
              <a:t>dictum</a:t>
            </a:r>
            <a:r>
              <a:rPr lang="de-DE" sz="1300" b="1" dirty="0"/>
              <a:t> </a:t>
            </a:r>
            <a:r>
              <a:rPr lang="de-DE" sz="1300" b="1" dirty="0" err="1"/>
              <a:t>felis</a:t>
            </a:r>
            <a:r>
              <a:rPr lang="de-DE" sz="1300" b="1" dirty="0"/>
              <a:t> </a:t>
            </a:r>
            <a:r>
              <a:rPr lang="de-DE" sz="1300" b="1" dirty="0" err="1"/>
              <a:t>eu</a:t>
            </a:r>
            <a:r>
              <a:rPr lang="de-DE" sz="1300" b="1" dirty="0"/>
              <a:t> </a:t>
            </a:r>
            <a:r>
              <a:rPr lang="de-DE" sz="1300" b="1" dirty="0" err="1"/>
              <a:t>pede</a:t>
            </a:r>
            <a:r>
              <a:rPr lang="de-DE" sz="1300" b="1" dirty="0"/>
              <a:t> </a:t>
            </a:r>
            <a:r>
              <a:rPr lang="de-DE" sz="1300" b="1" dirty="0" err="1"/>
              <a:t>mollis</a:t>
            </a:r>
            <a:r>
              <a:rPr lang="de-DE" sz="1300" b="1" dirty="0"/>
              <a:t> </a:t>
            </a:r>
            <a:r>
              <a:rPr lang="de-DE" sz="1300" b="1" dirty="0" err="1"/>
              <a:t>pretium</a:t>
            </a:r>
            <a:r>
              <a:rPr lang="de-DE" sz="1300" b="1" dirty="0"/>
              <a:t>. Integer </a:t>
            </a:r>
            <a:r>
              <a:rPr lang="de-DE" sz="1300" b="1" dirty="0" err="1"/>
              <a:t>tincidunt</a:t>
            </a:r>
            <a:r>
              <a:rPr lang="de-DE" sz="1300" b="1" dirty="0"/>
              <a:t>.</a:t>
            </a:r>
          </a:p>
        </p:txBody>
      </p:sp>
      <p:sp>
        <p:nvSpPr>
          <p:cNvPr id="14" name="Kreuz 13"/>
          <p:cNvSpPr/>
          <p:nvPr/>
        </p:nvSpPr>
        <p:spPr>
          <a:xfrm>
            <a:off x="3881889" y="3905961"/>
            <a:ext cx="504056" cy="504056"/>
          </a:xfrm>
          <a:prstGeom prst="plus">
            <a:avLst>
              <a:gd name="adj" fmla="val 367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Kreuz 14"/>
          <p:cNvSpPr/>
          <p:nvPr/>
        </p:nvSpPr>
        <p:spPr>
          <a:xfrm>
            <a:off x="5818851" y="3905961"/>
            <a:ext cx="504056" cy="504056"/>
          </a:xfrm>
          <a:prstGeom prst="plus">
            <a:avLst>
              <a:gd name="adj" fmla="val 367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Kreuz 15"/>
          <p:cNvSpPr/>
          <p:nvPr/>
        </p:nvSpPr>
        <p:spPr>
          <a:xfrm>
            <a:off x="7755813" y="3905961"/>
            <a:ext cx="504056" cy="504056"/>
          </a:xfrm>
          <a:prstGeom prst="plus">
            <a:avLst>
              <a:gd name="adj" fmla="val 367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04777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chtungspfeil 16"/>
          <p:cNvSpPr/>
          <p:nvPr/>
        </p:nvSpPr>
        <p:spPr>
          <a:xfrm flipH="1">
            <a:off x="6261922" y="2517010"/>
            <a:ext cx="3880616" cy="612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r>
              <a:rPr lang="de-DE" sz="1300" b="1" dirty="0"/>
              <a:t>Text</a:t>
            </a:r>
          </a:p>
        </p:txBody>
      </p:sp>
      <p:sp>
        <p:nvSpPr>
          <p:cNvPr id="18" name="Richtungspfeil 17"/>
          <p:cNvSpPr/>
          <p:nvPr/>
        </p:nvSpPr>
        <p:spPr>
          <a:xfrm flipH="1">
            <a:off x="6261922" y="3357103"/>
            <a:ext cx="3880616" cy="612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r>
              <a:rPr lang="de-DE" sz="1300" b="1" dirty="0"/>
              <a:t>Text</a:t>
            </a:r>
          </a:p>
        </p:txBody>
      </p:sp>
      <p:sp>
        <p:nvSpPr>
          <p:cNvPr id="19" name="Richtungspfeil 18"/>
          <p:cNvSpPr/>
          <p:nvPr/>
        </p:nvSpPr>
        <p:spPr>
          <a:xfrm flipH="1">
            <a:off x="6261922" y="4197196"/>
            <a:ext cx="3880616" cy="612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r>
              <a:rPr lang="de-DE" sz="1300" b="1" dirty="0"/>
              <a:t>Text</a:t>
            </a:r>
          </a:p>
        </p:txBody>
      </p:sp>
      <p:sp>
        <p:nvSpPr>
          <p:cNvPr id="20" name="Richtungspfeil 19"/>
          <p:cNvSpPr/>
          <p:nvPr/>
        </p:nvSpPr>
        <p:spPr>
          <a:xfrm flipH="1">
            <a:off x="6261922" y="5037290"/>
            <a:ext cx="3880616" cy="612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r>
              <a:rPr lang="de-DE" sz="1300" b="1" dirty="0"/>
              <a:t>Text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014" y="1916457"/>
            <a:ext cx="3355606" cy="4748605"/>
          </a:xfrm>
          <a:prstGeom prst="rect">
            <a:avLst/>
          </a:prstGeom>
        </p:spPr>
      </p:pic>
      <p:sp>
        <p:nvSpPr>
          <p:cNvPr id="22" name="Abgerundetes Rechteck 21"/>
          <p:cNvSpPr/>
          <p:nvPr/>
        </p:nvSpPr>
        <p:spPr>
          <a:xfrm>
            <a:off x="3106942" y="2669266"/>
            <a:ext cx="720000" cy="187285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Hamburg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3" name="Abgerundetes Rechteck 22"/>
          <p:cNvSpPr/>
          <p:nvPr/>
        </p:nvSpPr>
        <p:spPr>
          <a:xfrm>
            <a:off x="3071664" y="3876814"/>
            <a:ext cx="576000" cy="216000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Essen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4" name="Abgerundetes Rechteck 23"/>
          <p:cNvSpPr/>
          <p:nvPr/>
        </p:nvSpPr>
        <p:spPr>
          <a:xfrm>
            <a:off x="4728261" y="5623172"/>
            <a:ext cx="684000" cy="216000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München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4511824" y="5661248"/>
            <a:ext cx="144016" cy="14401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/>
          <p:cNvSpPr/>
          <p:nvPr/>
        </p:nvSpPr>
        <p:spPr>
          <a:xfrm>
            <a:off x="2870691" y="3926805"/>
            <a:ext cx="144016" cy="14401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/>
          <p:cNvSpPr/>
          <p:nvPr/>
        </p:nvSpPr>
        <p:spPr>
          <a:xfrm>
            <a:off x="3863752" y="2799276"/>
            <a:ext cx="144016" cy="14401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/>
          <p:cNvSpPr/>
          <p:nvPr/>
        </p:nvSpPr>
        <p:spPr>
          <a:xfrm>
            <a:off x="3431704" y="4725144"/>
            <a:ext cx="144016" cy="144016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Abgerundetes Rechteck 28"/>
          <p:cNvSpPr/>
          <p:nvPr/>
        </p:nvSpPr>
        <p:spPr>
          <a:xfrm>
            <a:off x="3647792" y="4653136"/>
            <a:ext cx="648008" cy="216024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Frankfu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3575720" y="5373216"/>
            <a:ext cx="144016" cy="144016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Abgerundetes Rechteck 30"/>
          <p:cNvSpPr/>
          <p:nvPr/>
        </p:nvSpPr>
        <p:spPr>
          <a:xfrm>
            <a:off x="3791744" y="5301208"/>
            <a:ext cx="864096" cy="216024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Ludwigsburg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2" name="Abgerundetes Rechteck 31"/>
          <p:cNvSpPr/>
          <p:nvPr/>
        </p:nvSpPr>
        <p:spPr>
          <a:xfrm>
            <a:off x="4443586" y="3357103"/>
            <a:ext cx="864096" cy="216024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  <a:latin typeface="Arial"/>
              </a:rPr>
              <a:t>Magdeburg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3" name="Ellipse 32"/>
          <p:cNvSpPr/>
          <p:nvPr/>
        </p:nvSpPr>
        <p:spPr>
          <a:xfrm>
            <a:off x="4439816" y="3649327"/>
            <a:ext cx="144016" cy="144016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49493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/>
          <p:cNvSpPr/>
          <p:nvPr/>
        </p:nvSpPr>
        <p:spPr>
          <a:xfrm>
            <a:off x="1929066" y="2700903"/>
            <a:ext cx="8361745" cy="1535410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</a:schemeClr>
          </a:solidFill>
          <a:ln w="12700" cap="rnd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2570676" y="4592161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7" name="Ellipse 6"/>
          <p:cNvSpPr>
            <a:spLocks noChangeAspect="1"/>
          </p:cNvSpPr>
          <p:nvPr/>
        </p:nvSpPr>
        <p:spPr>
          <a:xfrm>
            <a:off x="2207568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8" name="Ellipse 7"/>
          <p:cNvSpPr>
            <a:spLocks noChangeAspect="1"/>
          </p:cNvSpPr>
          <p:nvPr/>
        </p:nvSpPr>
        <p:spPr>
          <a:xfrm>
            <a:off x="3541927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9" name="Ellipse 8"/>
          <p:cNvSpPr>
            <a:spLocks noChangeAspect="1"/>
          </p:cNvSpPr>
          <p:nvPr/>
        </p:nvSpPr>
        <p:spPr>
          <a:xfrm>
            <a:off x="4876286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0" name="Ellipse 9"/>
          <p:cNvSpPr>
            <a:spLocks noChangeAspect="1"/>
          </p:cNvSpPr>
          <p:nvPr/>
        </p:nvSpPr>
        <p:spPr>
          <a:xfrm>
            <a:off x="7545004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" name="Ellipse 10"/>
          <p:cNvSpPr>
            <a:spLocks noChangeAspect="1"/>
          </p:cNvSpPr>
          <p:nvPr/>
        </p:nvSpPr>
        <p:spPr>
          <a:xfrm>
            <a:off x="8879363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Rechteck 11"/>
          <p:cNvSpPr/>
          <p:nvPr/>
        </p:nvSpPr>
        <p:spPr>
          <a:xfrm>
            <a:off x="5228271" y="4592161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3" name="Rechteck 12"/>
          <p:cNvSpPr/>
          <p:nvPr/>
        </p:nvSpPr>
        <p:spPr>
          <a:xfrm>
            <a:off x="7896864" y="4592161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4" name="Rechteck 13"/>
          <p:cNvSpPr/>
          <p:nvPr/>
        </p:nvSpPr>
        <p:spPr>
          <a:xfrm>
            <a:off x="6530060" y="5168225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5" name="Rechteck 14"/>
          <p:cNvSpPr/>
          <p:nvPr/>
        </p:nvSpPr>
        <p:spPr>
          <a:xfrm>
            <a:off x="3850148" y="5168225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6" name="Ellipse 15"/>
          <p:cNvSpPr>
            <a:spLocks noChangeAspect="1"/>
          </p:cNvSpPr>
          <p:nvPr/>
        </p:nvSpPr>
        <p:spPr>
          <a:xfrm>
            <a:off x="6210645" y="2935977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7" name="Rechteck 16"/>
          <p:cNvSpPr/>
          <p:nvPr/>
        </p:nvSpPr>
        <p:spPr>
          <a:xfrm>
            <a:off x="9242470" y="5168225"/>
            <a:ext cx="381643" cy="2308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8" name="Gerade Verbindung 17"/>
          <p:cNvCxnSpPr/>
          <p:nvPr/>
        </p:nvCxnSpPr>
        <p:spPr>
          <a:xfrm>
            <a:off x="2747568" y="3584049"/>
            <a:ext cx="0" cy="936104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5416285" y="3584049"/>
            <a:ext cx="0" cy="936104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8085004" y="3584049"/>
            <a:ext cx="0" cy="936104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9419363" y="3584049"/>
            <a:ext cx="0" cy="1512168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2"/>
          <p:cNvCxnSpPr/>
          <p:nvPr/>
        </p:nvCxnSpPr>
        <p:spPr>
          <a:xfrm>
            <a:off x="6750645" y="3584049"/>
            <a:ext cx="0" cy="1512168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3"/>
          <p:cNvCxnSpPr/>
          <p:nvPr/>
        </p:nvCxnSpPr>
        <p:spPr>
          <a:xfrm>
            <a:off x="4081927" y="3584049"/>
            <a:ext cx="0" cy="1512168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5062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räne 24"/>
          <p:cNvSpPr/>
          <p:nvPr/>
        </p:nvSpPr>
        <p:spPr>
          <a:xfrm>
            <a:off x="2567608" y="2420888"/>
            <a:ext cx="1800000" cy="1800000"/>
          </a:xfrm>
          <a:prstGeom prst="teardrop">
            <a:avLst/>
          </a:prstGeom>
          <a:solidFill>
            <a:schemeClr val="bg2"/>
          </a:solidFill>
        </p:spPr>
        <p:txBody>
          <a:bodyPr wrap="none" lIns="0" tIns="252000" rIns="0" bIns="0" anchor="t" anchorCtr="0">
            <a:noAutofit/>
          </a:bodyPr>
          <a:lstStyle/>
          <a:p>
            <a:pPr lvl="0"/>
            <a:r>
              <a:rPr lang="de-DE" sz="1400" b="1" dirty="0">
                <a:solidFill>
                  <a:schemeClr val="bg1"/>
                </a:solidFill>
              </a:rPr>
              <a:t>Text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6" name="Träne 25"/>
          <p:cNvSpPr/>
          <p:nvPr/>
        </p:nvSpPr>
        <p:spPr>
          <a:xfrm>
            <a:off x="4960217" y="2420888"/>
            <a:ext cx="1980000" cy="1980000"/>
          </a:xfrm>
          <a:prstGeom prst="teardrop">
            <a:avLst/>
          </a:prstGeom>
          <a:solidFill>
            <a:schemeClr val="bg2"/>
          </a:solidFill>
        </p:spPr>
        <p:txBody>
          <a:bodyPr wrap="square" lIns="0" tIns="252000" rIns="0" bIns="0" anchor="t" anchorCtr="0">
            <a:noAutofit/>
          </a:bodyPr>
          <a:lstStyle/>
          <a:p>
            <a:pPr lvl="0"/>
            <a:r>
              <a:rPr lang="de-DE" sz="1400" b="1" dirty="0">
                <a:solidFill>
                  <a:schemeClr val="bg1"/>
                </a:solidFill>
              </a:rPr>
              <a:t>Text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7" name="Träne 26"/>
          <p:cNvSpPr/>
          <p:nvPr/>
        </p:nvSpPr>
        <p:spPr>
          <a:xfrm>
            <a:off x="7514335" y="2420888"/>
            <a:ext cx="2160000" cy="2160000"/>
          </a:xfrm>
          <a:prstGeom prst="teardrop">
            <a:avLst/>
          </a:prstGeom>
          <a:solidFill>
            <a:schemeClr val="bg2"/>
          </a:solidFill>
        </p:spPr>
        <p:txBody>
          <a:bodyPr wrap="square" lIns="0" tIns="252000" rIns="0" bIns="0" anchor="t" anchorCtr="0">
            <a:noAutofit/>
          </a:bodyPr>
          <a:lstStyle/>
          <a:p>
            <a:pPr lvl="0"/>
            <a:r>
              <a:rPr lang="de-DE" sz="1400" b="1" dirty="0">
                <a:solidFill>
                  <a:schemeClr val="bg1"/>
                </a:solidFill>
              </a:rPr>
              <a:t>Text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2378242" y="4437117"/>
            <a:ext cx="2178732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6213" lvl="1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Lorem </a:t>
            </a:r>
            <a:r>
              <a:rPr lang="de-DE" sz="1000" dirty="0" err="1"/>
              <a:t>ipsum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 </a:t>
            </a:r>
            <a:r>
              <a:rPr lang="de-DE" sz="1000" dirty="0" err="1"/>
              <a:t>sit</a:t>
            </a:r>
            <a:r>
              <a:rPr lang="de-DE" sz="1000" dirty="0"/>
              <a:t> </a:t>
            </a:r>
            <a:r>
              <a:rPr lang="de-DE" sz="1000" dirty="0" err="1"/>
              <a:t>amet</a:t>
            </a:r>
            <a:r>
              <a:rPr lang="de-DE" sz="1000" dirty="0"/>
              <a:t>, </a:t>
            </a:r>
            <a:r>
              <a:rPr lang="de-DE" sz="1000" dirty="0" err="1"/>
              <a:t>consectetuer</a:t>
            </a:r>
            <a:r>
              <a:rPr lang="de-DE" sz="1000" dirty="0"/>
              <a:t> </a:t>
            </a:r>
            <a:r>
              <a:rPr lang="de-DE" sz="1000" dirty="0" err="1"/>
              <a:t>adipiscing</a:t>
            </a:r>
            <a:r>
              <a:rPr lang="de-DE" sz="1000" dirty="0"/>
              <a:t> </a:t>
            </a:r>
            <a:r>
              <a:rPr lang="de-DE" sz="1000" dirty="0" err="1"/>
              <a:t>elit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commodo </a:t>
            </a:r>
            <a:r>
              <a:rPr lang="de-DE" sz="1000" dirty="0" err="1"/>
              <a:t>ligula</a:t>
            </a:r>
            <a:r>
              <a:rPr lang="de-DE" sz="1000" dirty="0"/>
              <a:t> </a:t>
            </a:r>
            <a:r>
              <a:rPr lang="de-DE" sz="1000" dirty="0" err="1"/>
              <a:t>eget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</a:t>
            </a:r>
            <a:r>
              <a:rPr lang="de-DE" sz="1000" dirty="0" err="1"/>
              <a:t>massa</a:t>
            </a:r>
            <a:r>
              <a:rPr lang="de-DE" sz="1000" dirty="0"/>
              <a:t>.</a:t>
            </a:r>
          </a:p>
          <a:p>
            <a:pPr marL="176213" lvl="1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um </a:t>
            </a:r>
            <a:r>
              <a:rPr lang="de-DE" sz="1000" dirty="0" err="1"/>
              <a:t>sociis</a:t>
            </a:r>
            <a:r>
              <a:rPr lang="de-DE" sz="1000" dirty="0"/>
              <a:t> </a:t>
            </a:r>
            <a:r>
              <a:rPr lang="de-DE" sz="1000" dirty="0" err="1"/>
              <a:t>natoque</a:t>
            </a:r>
            <a:r>
              <a:rPr lang="de-DE" sz="1000" dirty="0"/>
              <a:t> </a:t>
            </a:r>
            <a:r>
              <a:rPr lang="de-DE" sz="1000" dirty="0" err="1"/>
              <a:t>penatibus</a:t>
            </a:r>
            <a:r>
              <a:rPr lang="de-DE" sz="1000" dirty="0"/>
              <a:t> et </a:t>
            </a:r>
            <a:r>
              <a:rPr lang="de-DE" sz="1000" dirty="0" err="1"/>
              <a:t>magnis</a:t>
            </a:r>
            <a:r>
              <a:rPr lang="de-DE" sz="1000" dirty="0"/>
              <a:t> </a:t>
            </a:r>
            <a:r>
              <a:rPr lang="de-DE" sz="1000" dirty="0" err="1"/>
              <a:t>dis</a:t>
            </a:r>
            <a:r>
              <a:rPr lang="de-DE" sz="1000" dirty="0"/>
              <a:t> </a:t>
            </a:r>
            <a:r>
              <a:rPr lang="de-DE" sz="1000" dirty="0" err="1"/>
              <a:t>parturient</a:t>
            </a:r>
            <a:r>
              <a:rPr lang="de-DE" sz="1000" dirty="0"/>
              <a:t> </a:t>
            </a:r>
            <a:r>
              <a:rPr lang="de-DE" sz="1000" dirty="0" err="1"/>
              <a:t>montes</a:t>
            </a:r>
            <a:r>
              <a:rPr lang="de-DE" sz="1000" dirty="0"/>
              <a:t>, </a:t>
            </a:r>
            <a:r>
              <a:rPr lang="de-DE" sz="1000" dirty="0" err="1"/>
              <a:t>nascetur</a:t>
            </a:r>
            <a:r>
              <a:rPr lang="de-DE" sz="1000" dirty="0"/>
              <a:t> </a:t>
            </a:r>
            <a:r>
              <a:rPr lang="de-DE" sz="1000" dirty="0" err="1"/>
              <a:t>ridiculus</a:t>
            </a:r>
            <a:r>
              <a:rPr lang="de-DE" sz="1000" dirty="0"/>
              <a:t> </a:t>
            </a:r>
            <a:r>
              <a:rPr lang="de-DE" sz="1000" dirty="0" err="1"/>
              <a:t>mus</a:t>
            </a:r>
            <a:r>
              <a:rPr lang="de-DE" sz="1000" dirty="0"/>
              <a:t>. </a:t>
            </a:r>
            <a:r>
              <a:rPr lang="de-DE" sz="1000" dirty="0" err="1"/>
              <a:t>Donec</a:t>
            </a:r>
            <a:r>
              <a:rPr lang="de-DE" sz="1000" dirty="0"/>
              <a:t> </a:t>
            </a:r>
            <a:r>
              <a:rPr lang="de-DE" sz="1000" dirty="0" err="1"/>
              <a:t>quam</a:t>
            </a:r>
            <a:r>
              <a:rPr lang="de-DE" sz="1000" dirty="0"/>
              <a:t> </a:t>
            </a:r>
            <a:r>
              <a:rPr lang="de-DE" sz="1000" dirty="0" err="1"/>
              <a:t>felis</a:t>
            </a:r>
            <a:r>
              <a:rPr lang="de-DE" sz="1000" dirty="0"/>
              <a:t>, </a:t>
            </a:r>
            <a:r>
              <a:rPr lang="de-DE" sz="1000" dirty="0" err="1"/>
              <a:t>ultricies</a:t>
            </a:r>
            <a:r>
              <a:rPr lang="de-DE" sz="1000" dirty="0"/>
              <a:t> </a:t>
            </a:r>
            <a:r>
              <a:rPr lang="de-DE" sz="1000" dirty="0" err="1"/>
              <a:t>nec</a:t>
            </a:r>
            <a:r>
              <a:rPr lang="de-DE" sz="1000" dirty="0"/>
              <a:t>, </a:t>
            </a:r>
            <a:r>
              <a:rPr lang="de-DE" sz="1000" dirty="0" err="1"/>
              <a:t>pellentesque</a:t>
            </a:r>
            <a:r>
              <a:rPr lang="de-DE" sz="1000" dirty="0"/>
              <a:t> </a:t>
            </a:r>
            <a:r>
              <a:rPr lang="de-DE" sz="1000" dirty="0" err="1"/>
              <a:t>eu</a:t>
            </a:r>
            <a:r>
              <a:rPr lang="de-DE" sz="1000" dirty="0"/>
              <a:t>, </a:t>
            </a:r>
            <a:r>
              <a:rPr lang="de-DE" sz="1000" dirty="0" err="1"/>
              <a:t>pretium</a:t>
            </a:r>
            <a:r>
              <a:rPr lang="de-DE" sz="1000" dirty="0"/>
              <a:t> </a:t>
            </a:r>
            <a:r>
              <a:rPr lang="de-DE" sz="1000" dirty="0" err="1"/>
              <a:t>quis</a:t>
            </a:r>
            <a:r>
              <a:rPr lang="de-DE" sz="1000" dirty="0"/>
              <a:t>, </a:t>
            </a:r>
            <a:r>
              <a:rPr lang="de-DE" sz="1000" dirty="0" err="1"/>
              <a:t>sem</a:t>
            </a:r>
            <a:r>
              <a:rPr lang="de-DE" sz="1000" dirty="0"/>
              <a:t>.</a:t>
            </a:r>
          </a:p>
        </p:txBody>
      </p:sp>
      <p:sp>
        <p:nvSpPr>
          <p:cNvPr id="29" name="Rechteck 28"/>
          <p:cNvSpPr/>
          <p:nvPr/>
        </p:nvSpPr>
        <p:spPr>
          <a:xfrm>
            <a:off x="4883641" y="4744894"/>
            <a:ext cx="2292483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6213" lvl="1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Lorem </a:t>
            </a:r>
            <a:r>
              <a:rPr lang="de-DE" sz="1000" dirty="0" err="1"/>
              <a:t>ipsum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 </a:t>
            </a:r>
            <a:r>
              <a:rPr lang="de-DE" sz="1000" dirty="0" err="1"/>
              <a:t>sit</a:t>
            </a:r>
            <a:r>
              <a:rPr lang="de-DE" sz="1000" dirty="0"/>
              <a:t> </a:t>
            </a:r>
            <a:r>
              <a:rPr lang="de-DE" sz="1000" dirty="0" err="1"/>
              <a:t>amet</a:t>
            </a:r>
            <a:r>
              <a:rPr lang="de-DE" sz="1000" dirty="0"/>
              <a:t>, </a:t>
            </a:r>
            <a:r>
              <a:rPr lang="de-DE" sz="1000" dirty="0" err="1"/>
              <a:t>consectetuer</a:t>
            </a:r>
            <a:r>
              <a:rPr lang="de-DE" sz="1000" dirty="0"/>
              <a:t> </a:t>
            </a:r>
            <a:r>
              <a:rPr lang="de-DE" sz="1000" dirty="0" err="1"/>
              <a:t>adipiscing</a:t>
            </a:r>
            <a:r>
              <a:rPr lang="de-DE" sz="1000" dirty="0"/>
              <a:t> </a:t>
            </a:r>
            <a:r>
              <a:rPr lang="de-DE" sz="1000" dirty="0" err="1"/>
              <a:t>elit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commodo </a:t>
            </a:r>
            <a:r>
              <a:rPr lang="de-DE" sz="1000" dirty="0" err="1"/>
              <a:t>ligula</a:t>
            </a:r>
            <a:r>
              <a:rPr lang="de-DE" sz="1000" dirty="0"/>
              <a:t> </a:t>
            </a:r>
            <a:r>
              <a:rPr lang="de-DE" sz="1000" dirty="0" err="1"/>
              <a:t>eget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</a:t>
            </a:r>
            <a:r>
              <a:rPr lang="de-DE" sz="1000" dirty="0" err="1"/>
              <a:t>massa</a:t>
            </a:r>
            <a:r>
              <a:rPr lang="de-DE" sz="1000" dirty="0"/>
              <a:t>.</a:t>
            </a:r>
          </a:p>
          <a:p>
            <a:pPr marL="176213" lvl="1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um </a:t>
            </a:r>
            <a:r>
              <a:rPr lang="de-DE" sz="1000" dirty="0" err="1"/>
              <a:t>sociis</a:t>
            </a:r>
            <a:r>
              <a:rPr lang="de-DE" sz="1000" dirty="0"/>
              <a:t> </a:t>
            </a:r>
            <a:r>
              <a:rPr lang="de-DE" sz="1000" dirty="0" err="1"/>
              <a:t>natoque</a:t>
            </a:r>
            <a:r>
              <a:rPr lang="de-DE" sz="1000" dirty="0"/>
              <a:t> </a:t>
            </a:r>
            <a:r>
              <a:rPr lang="de-DE" sz="1000" dirty="0" err="1"/>
              <a:t>penatibus</a:t>
            </a:r>
            <a:r>
              <a:rPr lang="de-DE" sz="1000" dirty="0"/>
              <a:t> et </a:t>
            </a:r>
            <a:r>
              <a:rPr lang="de-DE" sz="1000" dirty="0" err="1"/>
              <a:t>magnis</a:t>
            </a:r>
            <a:r>
              <a:rPr lang="de-DE" sz="1000" dirty="0"/>
              <a:t> </a:t>
            </a:r>
            <a:r>
              <a:rPr lang="de-DE" sz="1000" dirty="0" err="1"/>
              <a:t>dis</a:t>
            </a:r>
            <a:r>
              <a:rPr lang="de-DE" sz="1000" dirty="0"/>
              <a:t> </a:t>
            </a:r>
            <a:r>
              <a:rPr lang="de-DE" sz="1000" dirty="0" err="1"/>
              <a:t>parturient</a:t>
            </a:r>
            <a:r>
              <a:rPr lang="de-DE" sz="1000" dirty="0"/>
              <a:t> </a:t>
            </a:r>
            <a:r>
              <a:rPr lang="de-DE" sz="1000" dirty="0" err="1"/>
              <a:t>montes</a:t>
            </a:r>
            <a:r>
              <a:rPr lang="de-DE" sz="1000" dirty="0"/>
              <a:t>, </a:t>
            </a:r>
            <a:r>
              <a:rPr lang="de-DE" sz="1000" dirty="0" err="1"/>
              <a:t>nascetur</a:t>
            </a:r>
            <a:r>
              <a:rPr lang="de-DE" sz="1000" dirty="0"/>
              <a:t> </a:t>
            </a:r>
            <a:r>
              <a:rPr lang="de-DE" sz="1000" dirty="0" err="1"/>
              <a:t>ridiculus</a:t>
            </a:r>
            <a:r>
              <a:rPr lang="de-DE" sz="1000" dirty="0"/>
              <a:t> </a:t>
            </a:r>
            <a:r>
              <a:rPr lang="de-DE" sz="1000" dirty="0" err="1"/>
              <a:t>mus</a:t>
            </a:r>
            <a:r>
              <a:rPr lang="de-DE" sz="1000" dirty="0"/>
              <a:t>. </a:t>
            </a:r>
            <a:r>
              <a:rPr lang="de-DE" sz="1000" dirty="0" err="1"/>
              <a:t>Donec</a:t>
            </a:r>
            <a:r>
              <a:rPr lang="de-DE" sz="1000" dirty="0"/>
              <a:t> </a:t>
            </a:r>
            <a:r>
              <a:rPr lang="de-DE" sz="1000" dirty="0" err="1"/>
              <a:t>quam</a:t>
            </a:r>
            <a:r>
              <a:rPr lang="de-DE" sz="1000" dirty="0"/>
              <a:t> </a:t>
            </a:r>
            <a:r>
              <a:rPr lang="de-DE" sz="1000" dirty="0" err="1"/>
              <a:t>felis</a:t>
            </a:r>
            <a:r>
              <a:rPr lang="de-DE" sz="1000" dirty="0"/>
              <a:t>, </a:t>
            </a:r>
            <a:r>
              <a:rPr lang="de-DE" sz="1000" dirty="0" err="1"/>
              <a:t>ultricies</a:t>
            </a:r>
            <a:r>
              <a:rPr lang="de-DE" sz="1000" dirty="0"/>
              <a:t> </a:t>
            </a:r>
            <a:r>
              <a:rPr lang="de-DE" sz="1000" dirty="0" err="1"/>
              <a:t>nec</a:t>
            </a:r>
            <a:r>
              <a:rPr lang="de-DE" sz="1000" dirty="0"/>
              <a:t>, </a:t>
            </a:r>
            <a:r>
              <a:rPr lang="de-DE" sz="1000" dirty="0" err="1"/>
              <a:t>pellentesque</a:t>
            </a:r>
            <a:r>
              <a:rPr lang="de-DE" sz="1000" dirty="0"/>
              <a:t> </a:t>
            </a:r>
            <a:r>
              <a:rPr lang="de-DE" sz="1000" dirty="0" err="1"/>
              <a:t>eu</a:t>
            </a:r>
            <a:r>
              <a:rPr lang="de-DE" sz="1000" dirty="0"/>
              <a:t>, </a:t>
            </a:r>
            <a:r>
              <a:rPr lang="de-DE" sz="1000" dirty="0" err="1"/>
              <a:t>pretium</a:t>
            </a:r>
            <a:r>
              <a:rPr lang="de-DE" sz="1000" dirty="0"/>
              <a:t> </a:t>
            </a:r>
            <a:r>
              <a:rPr lang="de-DE" sz="1000" dirty="0" err="1"/>
              <a:t>quis</a:t>
            </a:r>
            <a:r>
              <a:rPr lang="de-DE" sz="1000" dirty="0"/>
              <a:t>, </a:t>
            </a:r>
            <a:r>
              <a:rPr lang="de-DE" sz="1000" dirty="0" err="1"/>
              <a:t>sem</a:t>
            </a:r>
            <a:r>
              <a:rPr lang="de-DE" sz="1000" dirty="0"/>
              <a:t>.</a:t>
            </a:r>
          </a:p>
        </p:txBody>
      </p:sp>
      <p:sp>
        <p:nvSpPr>
          <p:cNvPr id="30" name="Rechteck 29"/>
          <p:cNvSpPr/>
          <p:nvPr/>
        </p:nvSpPr>
        <p:spPr>
          <a:xfrm>
            <a:off x="7660480" y="5052670"/>
            <a:ext cx="2107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6213" lvl="1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Lorem </a:t>
            </a:r>
            <a:r>
              <a:rPr lang="de-DE" sz="1000" dirty="0" err="1"/>
              <a:t>ipsum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 </a:t>
            </a:r>
            <a:r>
              <a:rPr lang="de-DE" sz="1000" dirty="0" err="1"/>
              <a:t>sit</a:t>
            </a:r>
            <a:r>
              <a:rPr lang="de-DE" sz="1000" dirty="0"/>
              <a:t> </a:t>
            </a:r>
            <a:r>
              <a:rPr lang="de-DE" sz="1000" dirty="0" err="1"/>
              <a:t>amet</a:t>
            </a:r>
            <a:r>
              <a:rPr lang="de-DE" sz="1000" dirty="0"/>
              <a:t>, </a:t>
            </a:r>
            <a:r>
              <a:rPr lang="de-DE" sz="1000" dirty="0" err="1"/>
              <a:t>consectetuer</a:t>
            </a:r>
            <a:r>
              <a:rPr lang="de-DE" sz="1000" dirty="0"/>
              <a:t> </a:t>
            </a:r>
            <a:r>
              <a:rPr lang="de-DE" sz="1000" dirty="0" err="1"/>
              <a:t>adipiscing</a:t>
            </a:r>
            <a:r>
              <a:rPr lang="de-DE" sz="1000" dirty="0"/>
              <a:t> </a:t>
            </a:r>
            <a:r>
              <a:rPr lang="de-DE" sz="1000" dirty="0" err="1"/>
              <a:t>elit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commodo </a:t>
            </a:r>
            <a:r>
              <a:rPr lang="de-DE" sz="1000" dirty="0" err="1"/>
              <a:t>ligula</a:t>
            </a:r>
            <a:r>
              <a:rPr lang="de-DE" sz="1000" dirty="0"/>
              <a:t> </a:t>
            </a:r>
            <a:r>
              <a:rPr lang="de-DE" sz="1000" dirty="0" err="1"/>
              <a:t>eget</a:t>
            </a:r>
            <a:r>
              <a:rPr lang="de-DE" sz="1000" dirty="0"/>
              <a:t> </a:t>
            </a:r>
            <a:r>
              <a:rPr lang="de-DE" sz="1000" dirty="0" err="1"/>
              <a:t>dolor</a:t>
            </a:r>
            <a:r>
              <a:rPr lang="de-DE" sz="1000" dirty="0"/>
              <a:t>. </a:t>
            </a:r>
            <a:r>
              <a:rPr lang="de-DE" sz="1000" dirty="0" err="1"/>
              <a:t>Aenean</a:t>
            </a:r>
            <a:r>
              <a:rPr lang="de-DE" sz="1000" dirty="0"/>
              <a:t> </a:t>
            </a:r>
            <a:r>
              <a:rPr lang="de-DE" sz="1000" dirty="0" err="1"/>
              <a:t>massa</a:t>
            </a:r>
            <a:r>
              <a:rPr lang="de-DE" sz="1000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89318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243999" y="2340000"/>
            <a:ext cx="7668000" cy="230832"/>
          </a:xfrm>
        </p:spPr>
        <p:txBody>
          <a:bodyPr/>
          <a:lstStyle/>
          <a:p>
            <a:r>
              <a:rPr lang="de-DE" dirty="0" smtClean="0"/>
              <a:t>Falls Sie Menschen darstellen möchten, verwenden Sie bitte diese Grafiken: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42268" t="23013" r="42269" b="33808"/>
          <a:stretch/>
        </p:blipFill>
        <p:spPr>
          <a:xfrm>
            <a:off x="2855645" y="2590015"/>
            <a:ext cx="1296145" cy="345638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l="42268" t="24812" r="42269" b="32908"/>
          <a:stretch/>
        </p:blipFill>
        <p:spPr>
          <a:xfrm>
            <a:off x="4176225" y="2696762"/>
            <a:ext cx="1296145" cy="338437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l="41232" t="24288" r="41588" b="34332"/>
          <a:stretch/>
        </p:blipFill>
        <p:spPr>
          <a:xfrm>
            <a:off x="6456044" y="2662022"/>
            <a:ext cx="1440161" cy="33123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5"/>
          <a:srcRect l="42268" t="24812" r="42269" b="33808"/>
          <a:stretch/>
        </p:blipFill>
        <p:spPr>
          <a:xfrm>
            <a:off x="7896205" y="2708925"/>
            <a:ext cx="1296145" cy="331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0412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2244004" y="2340000"/>
            <a:ext cx="3563969" cy="2308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8130226" y="5406993"/>
            <a:ext cx="1782198" cy="3000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350" dirty="0"/>
              <a:t>Tex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5015880" y="2420893"/>
            <a:ext cx="5963972" cy="3605963"/>
            <a:chOff x="1880074" y="2420888"/>
            <a:chExt cx="5963972" cy="3605963"/>
          </a:xfrm>
        </p:grpSpPr>
        <p:sp>
          <p:nvSpPr>
            <p:cNvPr id="7" name="Rechteck 6"/>
            <p:cNvSpPr/>
            <p:nvPr/>
          </p:nvSpPr>
          <p:spPr>
            <a:xfrm>
              <a:off x="1880074" y="2420888"/>
              <a:ext cx="4604371" cy="3605963"/>
            </a:xfrm>
            <a:prstGeom prst="rect">
              <a:avLst/>
            </a:prstGeom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8" name="Freihandform 7"/>
            <p:cNvSpPr/>
            <p:nvPr/>
          </p:nvSpPr>
          <p:spPr>
            <a:xfrm>
              <a:off x="3606713" y="2420888"/>
              <a:ext cx="1151092" cy="901490"/>
            </a:xfrm>
            <a:custGeom>
              <a:avLst/>
              <a:gdLst>
                <a:gd name="connsiteX0" fmla="*/ 0 w 1151092"/>
                <a:gd name="connsiteY0" fmla="*/ 901490 h 901490"/>
                <a:gd name="connsiteX1" fmla="*/ 575546 w 1151092"/>
                <a:gd name="connsiteY1" fmla="*/ 0 h 901490"/>
                <a:gd name="connsiteX2" fmla="*/ 575546 w 1151092"/>
                <a:gd name="connsiteY2" fmla="*/ 0 h 901490"/>
                <a:gd name="connsiteX3" fmla="*/ 1151092 w 1151092"/>
                <a:gd name="connsiteY3" fmla="*/ 901490 h 901490"/>
                <a:gd name="connsiteX4" fmla="*/ 0 w 1151092"/>
                <a:gd name="connsiteY4" fmla="*/ 901490 h 90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092" h="901490">
                  <a:moveTo>
                    <a:pt x="0" y="901490"/>
                  </a:moveTo>
                  <a:lnTo>
                    <a:pt x="575546" y="0"/>
                  </a:lnTo>
                  <a:lnTo>
                    <a:pt x="575546" y="0"/>
                  </a:lnTo>
                  <a:lnTo>
                    <a:pt x="1151092" y="901490"/>
                  </a:lnTo>
                  <a:lnTo>
                    <a:pt x="0" y="901490"/>
                  </a:lnTo>
                  <a:close/>
                </a:path>
              </a:pathLst>
            </a:custGeom>
            <a:solidFill>
              <a:schemeClr val="tx2"/>
            </a:solidFill>
            <a:ln w="5080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solidFill>
                  <a:schemeClr val="bg1"/>
                </a:solidFill>
              </a:endParaRP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solidFill>
                  <a:schemeClr val="bg1"/>
                </a:solidFill>
              </a:endParaRP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" name="Freihandform 8"/>
            <p:cNvSpPr/>
            <p:nvPr/>
          </p:nvSpPr>
          <p:spPr>
            <a:xfrm>
              <a:off x="3031166" y="3322378"/>
              <a:ext cx="2302185" cy="901490"/>
            </a:xfrm>
            <a:custGeom>
              <a:avLst/>
              <a:gdLst>
                <a:gd name="connsiteX0" fmla="*/ 0 w 2302185"/>
                <a:gd name="connsiteY0" fmla="*/ 901490 h 901490"/>
                <a:gd name="connsiteX1" fmla="*/ 575547 w 2302185"/>
                <a:gd name="connsiteY1" fmla="*/ 0 h 901490"/>
                <a:gd name="connsiteX2" fmla="*/ 1726638 w 2302185"/>
                <a:gd name="connsiteY2" fmla="*/ 0 h 901490"/>
                <a:gd name="connsiteX3" fmla="*/ 2302185 w 2302185"/>
                <a:gd name="connsiteY3" fmla="*/ 901490 h 901490"/>
                <a:gd name="connsiteX4" fmla="*/ 0 w 2302185"/>
                <a:gd name="connsiteY4" fmla="*/ 901490 h 90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2185" h="901490">
                  <a:moveTo>
                    <a:pt x="0" y="901490"/>
                  </a:moveTo>
                  <a:lnTo>
                    <a:pt x="575547" y="0"/>
                  </a:lnTo>
                  <a:lnTo>
                    <a:pt x="1726638" y="0"/>
                  </a:lnTo>
                  <a:lnTo>
                    <a:pt x="2302185" y="901490"/>
                  </a:lnTo>
                  <a:lnTo>
                    <a:pt x="0" y="901490"/>
                  </a:lnTo>
                  <a:close/>
                </a:path>
              </a:pathLst>
            </a:custGeom>
            <a:solidFill>
              <a:schemeClr val="bg2"/>
            </a:solidFill>
            <a:ln w="5080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03" tIns="20320" rIns="423202" bIns="2032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0" name="Freihandform 9"/>
            <p:cNvSpPr/>
            <p:nvPr/>
          </p:nvSpPr>
          <p:spPr>
            <a:xfrm>
              <a:off x="2455620" y="4223869"/>
              <a:ext cx="3453278" cy="901490"/>
            </a:xfrm>
            <a:custGeom>
              <a:avLst/>
              <a:gdLst>
                <a:gd name="connsiteX0" fmla="*/ 0 w 3453278"/>
                <a:gd name="connsiteY0" fmla="*/ 901490 h 901490"/>
                <a:gd name="connsiteX1" fmla="*/ 575547 w 3453278"/>
                <a:gd name="connsiteY1" fmla="*/ 0 h 901490"/>
                <a:gd name="connsiteX2" fmla="*/ 2877731 w 3453278"/>
                <a:gd name="connsiteY2" fmla="*/ 0 h 901490"/>
                <a:gd name="connsiteX3" fmla="*/ 3453278 w 3453278"/>
                <a:gd name="connsiteY3" fmla="*/ 901490 h 901490"/>
                <a:gd name="connsiteX4" fmla="*/ 0 w 3453278"/>
                <a:gd name="connsiteY4" fmla="*/ 901490 h 90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3278" h="901490">
                  <a:moveTo>
                    <a:pt x="0" y="901490"/>
                  </a:moveTo>
                  <a:lnTo>
                    <a:pt x="575547" y="0"/>
                  </a:lnTo>
                  <a:lnTo>
                    <a:pt x="2877731" y="0"/>
                  </a:lnTo>
                  <a:lnTo>
                    <a:pt x="3453278" y="901490"/>
                  </a:lnTo>
                  <a:lnTo>
                    <a:pt x="0" y="90149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5080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7184" tIns="22860" rIns="627184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0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" name="Freihandform 10"/>
            <p:cNvSpPr/>
            <p:nvPr/>
          </p:nvSpPr>
          <p:spPr>
            <a:xfrm>
              <a:off x="1880074" y="5125360"/>
              <a:ext cx="4604370" cy="901490"/>
            </a:xfrm>
            <a:custGeom>
              <a:avLst/>
              <a:gdLst>
                <a:gd name="connsiteX0" fmla="*/ 0 w 4604370"/>
                <a:gd name="connsiteY0" fmla="*/ 901490 h 901490"/>
                <a:gd name="connsiteX1" fmla="*/ 575547 w 4604370"/>
                <a:gd name="connsiteY1" fmla="*/ 0 h 901490"/>
                <a:gd name="connsiteX2" fmla="*/ 4028823 w 4604370"/>
                <a:gd name="connsiteY2" fmla="*/ 0 h 901490"/>
                <a:gd name="connsiteX3" fmla="*/ 4604370 w 4604370"/>
                <a:gd name="connsiteY3" fmla="*/ 901490 h 901490"/>
                <a:gd name="connsiteX4" fmla="*/ 0 w 4604370"/>
                <a:gd name="connsiteY4" fmla="*/ 901490 h 90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4370" h="901490">
                  <a:moveTo>
                    <a:pt x="0" y="901490"/>
                  </a:moveTo>
                  <a:lnTo>
                    <a:pt x="575547" y="0"/>
                  </a:lnTo>
                  <a:lnTo>
                    <a:pt x="4028823" y="0"/>
                  </a:lnTo>
                  <a:lnTo>
                    <a:pt x="4604370" y="901490"/>
                  </a:lnTo>
                  <a:lnTo>
                    <a:pt x="0" y="90149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5080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1164" tIns="25400" rIns="831165" bIns="254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0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4922412" y="2721592"/>
              <a:ext cx="1782198" cy="30008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de-DE" sz="1350" dirty="0"/>
                <a:t>Text</a:t>
              </a: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5437051" y="3618855"/>
              <a:ext cx="1782198" cy="30008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de-DE" sz="1350" dirty="0"/>
                <a:t>Text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6061848" y="4515507"/>
              <a:ext cx="1782198" cy="30008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de-DE" sz="1350" dirty="0"/>
                <a:t>Text</a:t>
              </a:r>
            </a:p>
          </p:txBody>
        </p:sp>
        <p:cxnSp>
          <p:nvCxnSpPr>
            <p:cNvPr id="17" name="Gerader Verbinder 16"/>
            <p:cNvCxnSpPr>
              <a:endCxn id="21" idx="1"/>
            </p:cNvCxnSpPr>
            <p:nvPr/>
          </p:nvCxnSpPr>
          <p:spPr>
            <a:xfrm>
              <a:off x="4530528" y="2568083"/>
              <a:ext cx="1839266" cy="2919912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Ellipse 17"/>
            <p:cNvSpPr/>
            <p:nvPr/>
          </p:nvSpPr>
          <p:spPr>
            <a:xfrm>
              <a:off x="4636382" y="2773997"/>
              <a:ext cx="195272" cy="1952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Ellipse 18"/>
            <p:cNvSpPr/>
            <p:nvPr/>
          </p:nvSpPr>
          <p:spPr>
            <a:xfrm>
              <a:off x="5195987" y="3675487"/>
              <a:ext cx="195272" cy="19527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Ellipse 19"/>
            <p:cNvSpPr/>
            <p:nvPr/>
          </p:nvSpPr>
          <p:spPr>
            <a:xfrm>
              <a:off x="5774085" y="4575992"/>
              <a:ext cx="195272" cy="19527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Ellipse 20"/>
            <p:cNvSpPr/>
            <p:nvPr/>
          </p:nvSpPr>
          <p:spPr>
            <a:xfrm>
              <a:off x="6341197" y="5459398"/>
              <a:ext cx="195272" cy="19527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7887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244004" y="2340001"/>
            <a:ext cx="3090937" cy="230832"/>
          </a:xfrm>
        </p:spPr>
        <p:txBody>
          <a:bodyPr/>
          <a:lstStyle/>
          <a:p>
            <a:endParaRPr 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4933908" y="2348880"/>
            <a:ext cx="4834500" cy="3593170"/>
            <a:chOff x="1397397" y="2155825"/>
            <a:chExt cx="6554788" cy="4044950"/>
          </a:xfrm>
        </p:grpSpPr>
        <p:sp>
          <p:nvSpPr>
            <p:cNvPr id="28" name="AutoShape 11"/>
            <p:cNvSpPr>
              <a:spLocks noChangeArrowheads="1"/>
            </p:cNvSpPr>
            <p:nvPr/>
          </p:nvSpPr>
          <p:spPr bwMode="gray">
            <a:xfrm flipV="1">
              <a:off x="3399235" y="3860800"/>
              <a:ext cx="2551112" cy="160020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anchor="ctr"/>
            <a:lstStyle/>
            <a:p>
              <a:endParaRPr lang="de-DE" altLang="de-DE" sz="1400" b="1">
                <a:solidFill>
                  <a:srgbClr val="FFFFFF"/>
                </a:solidFill>
              </a:endParaRPr>
            </a:p>
          </p:txBody>
        </p:sp>
        <p:sp>
          <p:nvSpPr>
            <p:cNvPr id="29" name="AutoShape 12"/>
            <p:cNvSpPr>
              <a:spLocks noChangeArrowheads="1"/>
            </p:cNvSpPr>
            <p:nvPr/>
          </p:nvSpPr>
          <p:spPr bwMode="gray">
            <a:xfrm>
              <a:off x="1997472" y="3892550"/>
              <a:ext cx="2552700" cy="1600200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kumimoji="1" lang="de-DE" altLang="de-DE" sz="1600" dirty="0">
                  <a:solidFill>
                    <a:srgbClr val="000000"/>
                  </a:solidFill>
                </a:rPr>
                <a:t>Punkt 2</a:t>
              </a:r>
            </a:p>
          </p:txBody>
        </p:sp>
        <p:sp>
          <p:nvSpPr>
            <p:cNvPr id="30" name="AutoShape 13"/>
            <p:cNvSpPr>
              <a:spLocks noChangeArrowheads="1"/>
            </p:cNvSpPr>
            <p:nvPr/>
          </p:nvSpPr>
          <p:spPr bwMode="gray">
            <a:xfrm>
              <a:off x="4818460" y="3892550"/>
              <a:ext cx="2552700" cy="1600200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kumimoji="1" lang="de-DE" altLang="de-DE" sz="1600">
                  <a:solidFill>
                    <a:srgbClr val="000000"/>
                  </a:solidFill>
                </a:rPr>
                <a:t>Punkt 3</a:t>
              </a:r>
            </a:p>
          </p:txBody>
        </p:sp>
        <p:sp>
          <p:nvSpPr>
            <p:cNvPr id="31" name="AutoShape 14"/>
            <p:cNvSpPr>
              <a:spLocks noChangeArrowheads="1"/>
            </p:cNvSpPr>
            <p:nvPr/>
          </p:nvSpPr>
          <p:spPr bwMode="gray">
            <a:xfrm>
              <a:off x="3419872" y="2155825"/>
              <a:ext cx="2552700" cy="1598613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kumimoji="1" lang="de-DE" altLang="de-DE" sz="1600">
                  <a:solidFill>
                    <a:srgbClr val="000000"/>
                  </a:solidFill>
                </a:rPr>
                <a:t>Punkt 1</a:t>
              </a:r>
            </a:p>
          </p:txBody>
        </p:sp>
        <p:sp>
          <p:nvSpPr>
            <p:cNvPr id="32" name="AutoShape 15"/>
            <p:cNvSpPr>
              <a:spLocks noChangeArrowheads="1"/>
            </p:cNvSpPr>
            <p:nvPr/>
          </p:nvSpPr>
          <p:spPr bwMode="gray">
            <a:xfrm flipV="1">
              <a:off x="1397397" y="5626100"/>
              <a:ext cx="6554788" cy="574675"/>
            </a:xfrm>
            <a:custGeom>
              <a:avLst/>
              <a:gdLst>
                <a:gd name="G0" fmla="+- 1596 0 0"/>
                <a:gd name="G1" fmla="+- 21600 0 1596"/>
                <a:gd name="G2" fmla="*/ 1596 1 2"/>
                <a:gd name="G3" fmla="+- 21600 0 G2"/>
                <a:gd name="G4" fmla="+/ 1596 21600 2"/>
                <a:gd name="G5" fmla="+/ G1 0 2"/>
                <a:gd name="G6" fmla="*/ 21600 21600 1596"/>
                <a:gd name="G7" fmla="*/ G6 1 2"/>
                <a:gd name="G8" fmla="+- 21600 0 G7"/>
                <a:gd name="G9" fmla="*/ 21600 1 2"/>
                <a:gd name="G10" fmla="+- 1596 0 G9"/>
                <a:gd name="G11" fmla="?: G10 G8 0"/>
                <a:gd name="G12" fmla="?: G10 G7 21600"/>
                <a:gd name="T0" fmla="*/ 20802 w 21600"/>
                <a:gd name="T1" fmla="*/ 10800 h 21600"/>
                <a:gd name="T2" fmla="*/ 10800 w 21600"/>
                <a:gd name="T3" fmla="*/ 21600 h 21600"/>
                <a:gd name="T4" fmla="*/ 798 w 21600"/>
                <a:gd name="T5" fmla="*/ 10800 h 21600"/>
                <a:gd name="T6" fmla="*/ 10800 w 21600"/>
                <a:gd name="T7" fmla="*/ 0 h 21600"/>
                <a:gd name="T8" fmla="*/ 2598 w 21600"/>
                <a:gd name="T9" fmla="*/ 2598 h 21600"/>
                <a:gd name="T10" fmla="*/ 19002 w 21600"/>
                <a:gd name="T11" fmla="*/ 1900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96" y="21600"/>
                  </a:lnTo>
                  <a:lnTo>
                    <a:pt x="2000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lIns="0" tIns="0" rIns="0" bIns="0" anchor="ctr"/>
            <a:lstStyle/>
            <a:p>
              <a:pPr algn="ctr"/>
              <a:r>
                <a:rPr kumimoji="1" lang="de-DE" altLang="de-DE" sz="1600" b="1">
                  <a:solidFill>
                    <a:srgbClr val="FFFFFF"/>
                  </a:solidFill>
                </a:rPr>
                <a:t>Basis</a:t>
              </a:r>
            </a:p>
          </p:txBody>
        </p:sp>
        <p:sp>
          <p:nvSpPr>
            <p:cNvPr id="33" name="Text Box 16"/>
            <p:cNvSpPr txBox="1">
              <a:spLocks noChangeArrowheads="1"/>
            </p:cNvSpPr>
            <p:nvPr/>
          </p:nvSpPr>
          <p:spPr bwMode="gray">
            <a:xfrm>
              <a:off x="3801664" y="4111625"/>
              <a:ext cx="1709747" cy="658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altLang="de-DE" sz="1600" b="1" dirty="0">
                  <a:solidFill>
                    <a:schemeClr val="bg1"/>
                  </a:solidFill>
                </a:rPr>
                <a:t>Zentrales Thema</a:t>
              </a:r>
            </a:p>
          </p:txBody>
        </p:sp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67105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2423592" y="2852940"/>
            <a:ext cx="2304256" cy="2448271"/>
          </a:xfrm>
          <a:prstGeom prst="roundRect">
            <a:avLst>
              <a:gd name="adj" fmla="val 6339"/>
            </a:avLst>
          </a:prstGeom>
          <a:solidFill>
            <a:schemeClr val="bg2"/>
          </a:solidFill>
        </p:spPr>
        <p:txBody>
          <a:bodyPr wrap="square">
            <a:noAutofit/>
          </a:bodyPr>
          <a:lstStyle/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Lorem </a:t>
            </a:r>
            <a:r>
              <a:rPr lang="de-DE" sz="1200" dirty="0" err="1">
                <a:solidFill>
                  <a:schemeClr val="bg1"/>
                </a:solidFill>
              </a:rPr>
              <a:t>ips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i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met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consectetu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dipisc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lit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commodo </a:t>
            </a:r>
            <a:r>
              <a:rPr lang="de-DE" sz="1200" dirty="0" err="1">
                <a:solidFill>
                  <a:schemeClr val="bg1"/>
                </a:solidFill>
              </a:rPr>
              <a:t>ligula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ge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assa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Cum </a:t>
            </a:r>
            <a:r>
              <a:rPr lang="de-DE" sz="1200" dirty="0" err="1">
                <a:solidFill>
                  <a:schemeClr val="bg1"/>
                </a:solidFill>
              </a:rPr>
              <a:t>soci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ato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enatibus</a:t>
            </a:r>
            <a:r>
              <a:rPr lang="de-DE" sz="1200" dirty="0">
                <a:solidFill>
                  <a:schemeClr val="bg1"/>
                </a:solidFill>
              </a:rPr>
              <a:t> et </a:t>
            </a:r>
            <a:r>
              <a:rPr lang="de-DE" sz="1200" dirty="0" err="1">
                <a:solidFill>
                  <a:schemeClr val="bg1"/>
                </a:solidFill>
              </a:rPr>
              <a:t>magn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arturien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onte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nascetu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ridiculu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us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Donec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a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el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ultricie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ec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ellentes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u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reti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sem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Abgerundetes Rechteck 6"/>
          <p:cNvSpPr/>
          <p:nvPr/>
        </p:nvSpPr>
        <p:spPr>
          <a:xfrm>
            <a:off x="4936359" y="2852941"/>
            <a:ext cx="2304256" cy="2448271"/>
          </a:xfrm>
          <a:prstGeom prst="roundRect">
            <a:avLst>
              <a:gd name="adj" fmla="val 6171"/>
            </a:avLst>
          </a:prstGeom>
          <a:solidFill>
            <a:schemeClr val="bg2"/>
          </a:solidFill>
        </p:spPr>
        <p:txBody>
          <a:bodyPr wrap="square">
            <a:noAutofit/>
          </a:bodyPr>
          <a:lstStyle/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Lorem </a:t>
            </a:r>
            <a:r>
              <a:rPr lang="de-DE" sz="1200" dirty="0" err="1">
                <a:solidFill>
                  <a:schemeClr val="bg1"/>
                </a:solidFill>
              </a:rPr>
              <a:t>ips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i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met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consectetu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dipisc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lit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commodo </a:t>
            </a:r>
            <a:r>
              <a:rPr lang="de-DE" sz="1200" dirty="0" err="1">
                <a:solidFill>
                  <a:schemeClr val="bg1"/>
                </a:solidFill>
              </a:rPr>
              <a:t>ligula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ge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assa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Cum </a:t>
            </a:r>
            <a:r>
              <a:rPr lang="de-DE" sz="1200" dirty="0" err="1">
                <a:solidFill>
                  <a:schemeClr val="bg1"/>
                </a:solidFill>
              </a:rPr>
              <a:t>soci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ato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enatibus</a:t>
            </a:r>
            <a:r>
              <a:rPr lang="de-DE" sz="1200" dirty="0">
                <a:solidFill>
                  <a:schemeClr val="bg1"/>
                </a:solidFill>
              </a:rPr>
              <a:t> et </a:t>
            </a:r>
            <a:r>
              <a:rPr lang="de-DE" sz="1200" dirty="0" err="1">
                <a:solidFill>
                  <a:schemeClr val="bg1"/>
                </a:solidFill>
              </a:rPr>
              <a:t>magn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arturien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onte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nascetu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ridiculu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us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Donec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a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el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ultricie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ec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ellentes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u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reti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sem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7449126" y="2852941"/>
            <a:ext cx="2304256" cy="2448271"/>
          </a:xfrm>
          <a:prstGeom prst="roundRect">
            <a:avLst>
              <a:gd name="adj" fmla="val 5220"/>
            </a:avLst>
          </a:prstGeom>
          <a:solidFill>
            <a:schemeClr val="bg2"/>
          </a:solidFill>
        </p:spPr>
        <p:txBody>
          <a:bodyPr wrap="square">
            <a:noAutofit/>
          </a:bodyPr>
          <a:lstStyle/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Lorem </a:t>
            </a:r>
            <a:r>
              <a:rPr lang="de-DE" sz="1200" dirty="0" err="1">
                <a:solidFill>
                  <a:schemeClr val="bg1"/>
                </a:solidFill>
              </a:rPr>
              <a:t>ips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i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met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consectetu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adipisc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lit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commodo </a:t>
            </a:r>
            <a:r>
              <a:rPr lang="de-DE" sz="1200" dirty="0" err="1">
                <a:solidFill>
                  <a:schemeClr val="bg1"/>
                </a:solidFill>
              </a:rPr>
              <a:t>ligula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ge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olor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Aenean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assa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  <a:p>
            <a:pPr marL="176213" lvl="1" indent="-176213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Cum </a:t>
            </a:r>
            <a:r>
              <a:rPr lang="de-DE" sz="1200" dirty="0" err="1">
                <a:solidFill>
                  <a:schemeClr val="bg1"/>
                </a:solidFill>
              </a:rPr>
              <a:t>soci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ato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enatibus</a:t>
            </a:r>
            <a:r>
              <a:rPr lang="de-DE" sz="1200" dirty="0">
                <a:solidFill>
                  <a:schemeClr val="bg1"/>
                </a:solidFill>
              </a:rPr>
              <a:t> et </a:t>
            </a:r>
            <a:r>
              <a:rPr lang="de-DE" sz="1200" dirty="0" err="1">
                <a:solidFill>
                  <a:schemeClr val="bg1"/>
                </a:solidFill>
              </a:rPr>
              <a:t>magn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i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arturien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onte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nascetu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ridiculu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us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  <a:r>
              <a:rPr lang="de-DE" sz="1200" dirty="0" err="1">
                <a:solidFill>
                  <a:schemeClr val="bg1"/>
                </a:solidFill>
              </a:rPr>
              <a:t>Donec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a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el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ultricie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nec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ellentesqu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eu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retiu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quis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sem</a:t>
            </a:r>
            <a:r>
              <a:rPr lang="de-DE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Abgerundetes Rechteck 8"/>
          <p:cNvSpPr/>
          <p:nvPr/>
        </p:nvSpPr>
        <p:spPr>
          <a:xfrm>
            <a:off x="2423592" y="2420892"/>
            <a:ext cx="2304256" cy="360041"/>
          </a:xfrm>
          <a:prstGeom prst="roundRect">
            <a:avLst>
              <a:gd name="adj" fmla="val 30759"/>
            </a:avLst>
          </a:prstGeom>
          <a:solidFill>
            <a:schemeClr val="tx2"/>
          </a:solidFill>
        </p:spPr>
        <p:txBody>
          <a:bodyPr wrap="square" lIns="90000" tIns="18000" rIns="0" bIns="0" anchor="ctr" anchorCtr="0">
            <a:noAutofit/>
          </a:bodyPr>
          <a:lstStyle/>
          <a:p>
            <a:pPr marL="0" lvl="1"/>
            <a:r>
              <a:rPr lang="de-DE" sz="1500" b="1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4936359" y="2420893"/>
            <a:ext cx="2304256" cy="360041"/>
          </a:xfrm>
          <a:prstGeom prst="roundRect">
            <a:avLst>
              <a:gd name="adj" fmla="val 27539"/>
            </a:avLst>
          </a:prstGeom>
          <a:solidFill>
            <a:schemeClr val="tx2"/>
          </a:solidFill>
        </p:spPr>
        <p:txBody>
          <a:bodyPr wrap="square" lIns="90000" tIns="18000" rIns="0" bIns="0" anchor="ctr" anchorCtr="0">
            <a:noAutofit/>
          </a:bodyPr>
          <a:lstStyle/>
          <a:p>
            <a:pPr marL="0" lvl="1"/>
            <a:r>
              <a:rPr lang="de-DE" sz="15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7449126" y="2420893"/>
            <a:ext cx="2304256" cy="360041"/>
          </a:xfrm>
          <a:prstGeom prst="roundRect">
            <a:avLst>
              <a:gd name="adj" fmla="val 29640"/>
            </a:avLst>
          </a:prstGeom>
          <a:solidFill>
            <a:schemeClr val="tx2"/>
          </a:solidFill>
        </p:spPr>
        <p:txBody>
          <a:bodyPr wrap="square" lIns="90000" tIns="18000" rIns="0" bIns="0" anchor="ctr" anchorCtr="0">
            <a:noAutofit/>
          </a:bodyPr>
          <a:lstStyle/>
          <a:p>
            <a:pPr marL="0" lvl="1"/>
            <a:r>
              <a:rPr lang="de-DE" sz="15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1716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nstiges</a:t>
            </a:r>
            <a:endParaRPr lang="de-DE" dirty="0"/>
          </a:p>
        </p:txBody>
      </p:sp>
      <p:grpSp>
        <p:nvGrpSpPr>
          <p:cNvPr id="47" name="Gruppieren 46"/>
          <p:cNvGrpSpPr/>
          <p:nvPr/>
        </p:nvGrpSpPr>
        <p:grpSpPr>
          <a:xfrm>
            <a:off x="2884128" y="3881004"/>
            <a:ext cx="697111" cy="697111"/>
            <a:chOff x="7921427" y="3068960"/>
            <a:chExt cx="697111" cy="697111"/>
          </a:xfrm>
        </p:grpSpPr>
        <p:sp>
          <p:nvSpPr>
            <p:cNvPr id="57" name="Ellipse 56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8" name="Grafik 5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6729" y="3204262"/>
              <a:ext cx="426508" cy="426508"/>
            </a:xfrm>
            <a:prstGeom prst="rect">
              <a:avLst/>
            </a:prstGeom>
          </p:spPr>
        </p:pic>
      </p:grpSp>
      <p:grpSp>
        <p:nvGrpSpPr>
          <p:cNvPr id="74" name="Gruppieren 73"/>
          <p:cNvGrpSpPr/>
          <p:nvPr/>
        </p:nvGrpSpPr>
        <p:grpSpPr>
          <a:xfrm>
            <a:off x="3704251" y="3881004"/>
            <a:ext cx="697111" cy="697111"/>
            <a:chOff x="7104998" y="4005064"/>
            <a:chExt cx="697111" cy="697111"/>
          </a:xfrm>
        </p:grpSpPr>
        <p:sp>
          <p:nvSpPr>
            <p:cNvPr id="84" name="Ellipse 83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5" name="Grafik 8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4932" y="4204998"/>
              <a:ext cx="297244" cy="297244"/>
            </a:xfrm>
            <a:prstGeom prst="rect">
              <a:avLst/>
            </a:prstGeom>
          </p:spPr>
        </p:pic>
      </p:grpSp>
      <p:grpSp>
        <p:nvGrpSpPr>
          <p:cNvPr id="77" name="Gruppieren 76"/>
          <p:cNvGrpSpPr/>
          <p:nvPr/>
        </p:nvGrpSpPr>
        <p:grpSpPr>
          <a:xfrm>
            <a:off x="4524374" y="3881004"/>
            <a:ext cx="697111" cy="697111"/>
            <a:chOff x="7921427" y="4005064"/>
            <a:chExt cx="697111" cy="697111"/>
          </a:xfrm>
        </p:grpSpPr>
        <p:sp>
          <p:nvSpPr>
            <p:cNvPr id="87" name="Ellipse 86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8" name="Grafik 8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6710" y="4153846"/>
              <a:ext cx="399548" cy="399548"/>
            </a:xfrm>
            <a:prstGeom prst="rect">
              <a:avLst/>
            </a:prstGeom>
          </p:spPr>
        </p:pic>
      </p:grpSp>
      <p:grpSp>
        <p:nvGrpSpPr>
          <p:cNvPr id="59" name="Gruppieren 58"/>
          <p:cNvGrpSpPr/>
          <p:nvPr/>
        </p:nvGrpSpPr>
        <p:grpSpPr>
          <a:xfrm>
            <a:off x="2064005" y="3881004"/>
            <a:ext cx="697111" cy="697111"/>
            <a:chOff x="3022833" y="4005064"/>
            <a:chExt cx="697111" cy="697111"/>
          </a:xfrm>
        </p:grpSpPr>
        <p:sp>
          <p:nvSpPr>
            <p:cNvPr id="93" name="Ellipse 92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4" name="Grafik 9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83" name="Gruppieren 82"/>
          <p:cNvGrpSpPr/>
          <p:nvPr/>
        </p:nvGrpSpPr>
        <p:grpSpPr>
          <a:xfrm>
            <a:off x="5344497" y="3881004"/>
            <a:ext cx="697111" cy="697111"/>
            <a:chOff x="573534" y="4941168"/>
            <a:chExt cx="697111" cy="697111"/>
          </a:xfrm>
        </p:grpSpPr>
        <p:sp>
          <p:nvSpPr>
            <p:cNvPr id="102" name="Ellipse 101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3" name="Grafik 10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993" y="5102332"/>
              <a:ext cx="374782" cy="374782"/>
            </a:xfrm>
            <a:prstGeom prst="rect">
              <a:avLst/>
            </a:prstGeom>
          </p:spPr>
        </p:pic>
      </p:grpSp>
      <p:grpSp>
        <p:nvGrpSpPr>
          <p:cNvPr id="89" name="Gruppieren 88"/>
          <p:cNvGrpSpPr/>
          <p:nvPr/>
        </p:nvGrpSpPr>
        <p:grpSpPr>
          <a:xfrm>
            <a:off x="6984743" y="3881004"/>
            <a:ext cx="697111" cy="697111"/>
            <a:chOff x="2206400" y="4941168"/>
            <a:chExt cx="697111" cy="697111"/>
          </a:xfrm>
        </p:grpSpPr>
        <p:sp>
          <p:nvSpPr>
            <p:cNvPr id="105" name="Ellipse 104"/>
            <p:cNvSpPr/>
            <p:nvPr/>
          </p:nvSpPr>
          <p:spPr>
            <a:xfrm>
              <a:off x="2206400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6" name="Grafik 10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6783" y="5121551"/>
              <a:ext cx="336346" cy="336346"/>
            </a:xfrm>
            <a:prstGeom prst="rect">
              <a:avLst/>
            </a:prstGeom>
          </p:spPr>
        </p:pic>
      </p:grpSp>
      <p:grpSp>
        <p:nvGrpSpPr>
          <p:cNvPr id="95" name="Gruppieren 94"/>
          <p:cNvGrpSpPr/>
          <p:nvPr/>
        </p:nvGrpSpPr>
        <p:grpSpPr>
          <a:xfrm>
            <a:off x="8624989" y="3881004"/>
            <a:ext cx="697111" cy="697111"/>
            <a:chOff x="3839266" y="4941168"/>
            <a:chExt cx="697111" cy="697111"/>
          </a:xfrm>
        </p:grpSpPr>
        <p:sp>
          <p:nvSpPr>
            <p:cNvPr id="108" name="Ellipse 107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9" name="Grafik 10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0429" y="5102331"/>
              <a:ext cx="374786" cy="374786"/>
            </a:xfrm>
            <a:prstGeom prst="rect">
              <a:avLst/>
            </a:prstGeom>
          </p:spPr>
        </p:pic>
      </p:grpSp>
      <p:grpSp>
        <p:nvGrpSpPr>
          <p:cNvPr id="86" name="Gruppieren 85"/>
          <p:cNvGrpSpPr/>
          <p:nvPr/>
        </p:nvGrpSpPr>
        <p:grpSpPr>
          <a:xfrm>
            <a:off x="6164620" y="3881004"/>
            <a:ext cx="697111" cy="697111"/>
            <a:chOff x="1389967" y="4941168"/>
            <a:chExt cx="697111" cy="697111"/>
          </a:xfrm>
        </p:grpSpPr>
        <p:sp>
          <p:nvSpPr>
            <p:cNvPr id="120" name="Ellipse 119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1" name="Grafik 12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6094" y="5097295"/>
              <a:ext cx="384858" cy="384858"/>
            </a:xfrm>
            <a:prstGeom prst="rect">
              <a:avLst/>
            </a:prstGeom>
          </p:spPr>
        </p:pic>
      </p:grpSp>
      <p:grpSp>
        <p:nvGrpSpPr>
          <p:cNvPr id="92" name="Gruppieren 91"/>
          <p:cNvGrpSpPr/>
          <p:nvPr/>
        </p:nvGrpSpPr>
        <p:grpSpPr>
          <a:xfrm>
            <a:off x="7804866" y="3881004"/>
            <a:ext cx="697111" cy="697111"/>
            <a:chOff x="3022833" y="4941168"/>
            <a:chExt cx="697111" cy="697111"/>
          </a:xfrm>
        </p:grpSpPr>
        <p:sp>
          <p:nvSpPr>
            <p:cNvPr id="123" name="Ellipse 122"/>
            <p:cNvSpPr/>
            <p:nvPr/>
          </p:nvSpPr>
          <p:spPr>
            <a:xfrm>
              <a:off x="3022833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4" name="Grafik 123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8206" y="5086541"/>
              <a:ext cx="406366" cy="406366"/>
            </a:xfrm>
            <a:prstGeom prst="rect">
              <a:avLst/>
            </a:prstGeom>
          </p:spPr>
        </p:pic>
      </p:grpSp>
      <p:grpSp>
        <p:nvGrpSpPr>
          <p:cNvPr id="98" name="Gruppieren 97"/>
          <p:cNvGrpSpPr/>
          <p:nvPr/>
        </p:nvGrpSpPr>
        <p:grpSpPr>
          <a:xfrm>
            <a:off x="9445114" y="3881004"/>
            <a:ext cx="697111" cy="697111"/>
            <a:chOff x="4655699" y="4941168"/>
            <a:chExt cx="697111" cy="697111"/>
          </a:xfrm>
        </p:grpSpPr>
        <p:sp>
          <p:nvSpPr>
            <p:cNvPr id="126" name="Ellipse 125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7" name="Grafik 126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8787" y="5067322"/>
              <a:ext cx="410936" cy="41093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2064005" y="3018417"/>
            <a:ext cx="697111" cy="697111"/>
            <a:chOff x="573534" y="3068960"/>
            <a:chExt cx="697111" cy="697111"/>
          </a:xfrm>
        </p:grpSpPr>
        <p:sp>
          <p:nvSpPr>
            <p:cNvPr id="42" name="Ellipse 41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189" y="3208615"/>
              <a:ext cx="417802" cy="417802"/>
            </a:xfrm>
            <a:prstGeom prst="rect">
              <a:avLst/>
            </a:prstGeom>
          </p:spPr>
        </p:pic>
      </p:grpSp>
      <p:grpSp>
        <p:nvGrpSpPr>
          <p:cNvPr id="32" name="Gruppieren 31"/>
          <p:cNvGrpSpPr/>
          <p:nvPr/>
        </p:nvGrpSpPr>
        <p:grpSpPr>
          <a:xfrm>
            <a:off x="3704251" y="3018417"/>
            <a:ext cx="697111" cy="697111"/>
            <a:chOff x="2206400" y="3068960"/>
            <a:chExt cx="697111" cy="697111"/>
          </a:xfrm>
        </p:grpSpPr>
        <p:sp>
          <p:nvSpPr>
            <p:cNvPr id="45" name="Ellipse 44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6" name="Grafik 45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5958" y="3228518"/>
              <a:ext cx="377996" cy="377996"/>
            </a:xfrm>
            <a:prstGeom prst="rect">
              <a:avLst/>
            </a:prstGeom>
          </p:spPr>
        </p:pic>
      </p:grpSp>
      <p:grpSp>
        <p:nvGrpSpPr>
          <p:cNvPr id="29" name="Gruppieren 28"/>
          <p:cNvGrpSpPr/>
          <p:nvPr/>
        </p:nvGrpSpPr>
        <p:grpSpPr>
          <a:xfrm>
            <a:off x="2884128" y="3018417"/>
            <a:ext cx="697111" cy="697111"/>
            <a:chOff x="1389967" y="3068960"/>
            <a:chExt cx="697111" cy="697111"/>
          </a:xfrm>
        </p:grpSpPr>
        <p:sp>
          <p:nvSpPr>
            <p:cNvPr id="60" name="Ellipse 59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1" name="Grafik 60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5269" y="3204262"/>
              <a:ext cx="426508" cy="426508"/>
            </a:xfrm>
            <a:prstGeom prst="rect">
              <a:avLst/>
            </a:prstGeom>
          </p:spPr>
        </p:pic>
      </p:grpSp>
      <p:grpSp>
        <p:nvGrpSpPr>
          <p:cNvPr id="35" name="Gruppieren 34"/>
          <p:cNvGrpSpPr/>
          <p:nvPr/>
        </p:nvGrpSpPr>
        <p:grpSpPr>
          <a:xfrm>
            <a:off x="4524374" y="3018417"/>
            <a:ext cx="697111" cy="697111"/>
            <a:chOff x="3022833" y="3068960"/>
            <a:chExt cx="697111" cy="697111"/>
          </a:xfrm>
        </p:grpSpPr>
        <p:sp>
          <p:nvSpPr>
            <p:cNvPr id="63" name="Ellipse 62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1247" y="3227374"/>
              <a:ext cx="380284" cy="380284"/>
            </a:xfrm>
            <a:prstGeom prst="rect">
              <a:avLst/>
            </a:prstGeom>
          </p:spPr>
        </p:pic>
      </p:grpSp>
      <p:grpSp>
        <p:nvGrpSpPr>
          <p:cNvPr id="50" name="Gruppieren 49"/>
          <p:cNvGrpSpPr/>
          <p:nvPr/>
        </p:nvGrpSpPr>
        <p:grpSpPr>
          <a:xfrm>
            <a:off x="7804866" y="3018417"/>
            <a:ext cx="697111" cy="697111"/>
            <a:chOff x="573534" y="4005064"/>
            <a:chExt cx="697111" cy="697111"/>
          </a:xfrm>
        </p:grpSpPr>
        <p:sp>
          <p:nvSpPr>
            <p:cNvPr id="72" name="Ellipse 71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3" name="Grafik 72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189" y="4144719"/>
              <a:ext cx="417802" cy="417802"/>
            </a:xfrm>
            <a:prstGeom prst="rect">
              <a:avLst/>
            </a:prstGeom>
          </p:spPr>
        </p:pic>
      </p:grpSp>
      <p:grpSp>
        <p:nvGrpSpPr>
          <p:cNvPr id="56" name="Gruppieren 55"/>
          <p:cNvGrpSpPr/>
          <p:nvPr/>
        </p:nvGrpSpPr>
        <p:grpSpPr>
          <a:xfrm>
            <a:off x="9445114" y="3018417"/>
            <a:ext cx="697111" cy="697111"/>
            <a:chOff x="2206400" y="4005064"/>
            <a:chExt cx="697111" cy="697111"/>
          </a:xfrm>
        </p:grpSpPr>
        <p:sp>
          <p:nvSpPr>
            <p:cNvPr id="75" name="Ellipse 74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6" name="Grafik 75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9488" y="4148152"/>
              <a:ext cx="410936" cy="410936"/>
            </a:xfrm>
            <a:prstGeom prst="rect">
              <a:avLst/>
            </a:prstGeom>
          </p:spPr>
        </p:pic>
      </p:grpSp>
      <p:grpSp>
        <p:nvGrpSpPr>
          <p:cNvPr id="62" name="Gruppieren 61"/>
          <p:cNvGrpSpPr/>
          <p:nvPr/>
        </p:nvGrpSpPr>
        <p:grpSpPr>
          <a:xfrm>
            <a:off x="6164620" y="3018417"/>
            <a:ext cx="697111" cy="697111"/>
            <a:chOff x="3839266" y="4005064"/>
            <a:chExt cx="697111" cy="697111"/>
          </a:xfrm>
        </p:grpSpPr>
        <p:sp>
          <p:nvSpPr>
            <p:cNvPr id="78" name="Ellipse 77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9" name="Grafik 78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3057" y="4169657"/>
              <a:ext cx="401794" cy="401794"/>
            </a:xfrm>
            <a:prstGeom prst="rect">
              <a:avLst/>
            </a:prstGeom>
          </p:spPr>
        </p:pic>
      </p:grpSp>
      <p:grpSp>
        <p:nvGrpSpPr>
          <p:cNvPr id="53" name="Gruppieren 52"/>
          <p:cNvGrpSpPr/>
          <p:nvPr/>
        </p:nvGrpSpPr>
        <p:grpSpPr>
          <a:xfrm>
            <a:off x="8624989" y="3018417"/>
            <a:ext cx="697111" cy="697111"/>
            <a:chOff x="1389967" y="4005064"/>
            <a:chExt cx="697111" cy="697111"/>
          </a:xfrm>
        </p:grpSpPr>
        <p:sp>
          <p:nvSpPr>
            <p:cNvPr id="90" name="Ellipse 89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1" name="Grafik 90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65" name="Gruppieren 64"/>
          <p:cNvGrpSpPr/>
          <p:nvPr/>
        </p:nvGrpSpPr>
        <p:grpSpPr>
          <a:xfrm>
            <a:off x="6984743" y="3018417"/>
            <a:ext cx="697111" cy="697111"/>
            <a:chOff x="4655699" y="4005064"/>
            <a:chExt cx="697111" cy="697111"/>
          </a:xfrm>
        </p:grpSpPr>
        <p:sp>
          <p:nvSpPr>
            <p:cNvPr id="96" name="Ellipse 95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7" name="Grafik 96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7618" y="4168516"/>
              <a:ext cx="404076" cy="404076"/>
            </a:xfrm>
            <a:prstGeom prst="rect">
              <a:avLst/>
            </a:prstGeom>
          </p:spPr>
        </p:pic>
      </p:grpSp>
      <p:grpSp>
        <p:nvGrpSpPr>
          <p:cNvPr id="104" name="Gruppieren 103"/>
          <p:cNvGrpSpPr/>
          <p:nvPr/>
        </p:nvGrpSpPr>
        <p:grpSpPr>
          <a:xfrm>
            <a:off x="5344497" y="3018417"/>
            <a:ext cx="697111" cy="697111"/>
            <a:chOff x="6288565" y="4941168"/>
            <a:chExt cx="697111" cy="697111"/>
          </a:xfrm>
        </p:grpSpPr>
        <p:sp>
          <p:nvSpPr>
            <p:cNvPr id="129" name="Ellipse 128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0" name="Grafik 129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0436" y="5073039"/>
              <a:ext cx="433370" cy="433370"/>
            </a:xfrm>
            <a:prstGeom prst="rect">
              <a:avLst/>
            </a:prstGeom>
          </p:spPr>
        </p:pic>
      </p:grpSp>
      <p:grpSp>
        <p:nvGrpSpPr>
          <p:cNvPr id="8" name="Gruppieren 7"/>
          <p:cNvGrpSpPr/>
          <p:nvPr/>
        </p:nvGrpSpPr>
        <p:grpSpPr>
          <a:xfrm>
            <a:off x="2884128" y="2155830"/>
            <a:ext cx="697111" cy="697111"/>
            <a:chOff x="573534" y="2155825"/>
            <a:chExt cx="697111" cy="697111"/>
          </a:xfrm>
        </p:grpSpPr>
        <p:sp>
          <p:nvSpPr>
            <p:cNvPr id="5" name="Ellipse 4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69" y="2308060"/>
              <a:ext cx="392642" cy="392642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>
          <a:xfrm>
            <a:off x="4524374" y="2155830"/>
            <a:ext cx="697111" cy="697111"/>
            <a:chOff x="2206400" y="2155825"/>
            <a:chExt cx="697111" cy="697111"/>
          </a:xfrm>
        </p:grpSpPr>
        <p:sp>
          <p:nvSpPr>
            <p:cNvPr id="6" name="Ellipse 5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2848" y="2282273"/>
              <a:ext cx="444218" cy="444218"/>
            </a:xfrm>
            <a:prstGeom prst="rect">
              <a:avLst/>
            </a:prstGeom>
          </p:spPr>
        </p:pic>
      </p:grpSp>
      <p:grpSp>
        <p:nvGrpSpPr>
          <p:cNvPr id="12" name="Gruppieren 11"/>
          <p:cNvGrpSpPr/>
          <p:nvPr/>
        </p:nvGrpSpPr>
        <p:grpSpPr>
          <a:xfrm>
            <a:off x="6164620" y="2155830"/>
            <a:ext cx="697111" cy="697111"/>
            <a:chOff x="3839266" y="2155825"/>
            <a:chExt cx="697111" cy="697111"/>
          </a:xfrm>
        </p:grpSpPr>
        <p:sp>
          <p:nvSpPr>
            <p:cNvPr id="15" name="Ellipse 14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/>
        </p:nvGrpSpPr>
        <p:grpSpPr>
          <a:xfrm>
            <a:off x="6984743" y="2155830"/>
            <a:ext cx="697111" cy="697111"/>
            <a:chOff x="5472132" y="2155825"/>
            <a:chExt cx="697111" cy="697111"/>
          </a:xfrm>
        </p:grpSpPr>
        <p:sp>
          <p:nvSpPr>
            <p:cNvPr id="18" name="Ellipse 17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0182" y="2293875"/>
              <a:ext cx="421012" cy="421012"/>
            </a:xfrm>
            <a:prstGeom prst="rect">
              <a:avLst/>
            </a:prstGeom>
          </p:spPr>
        </p:pic>
      </p:grpSp>
      <p:grpSp>
        <p:nvGrpSpPr>
          <p:cNvPr id="20" name="Gruppieren 19"/>
          <p:cNvGrpSpPr/>
          <p:nvPr/>
        </p:nvGrpSpPr>
        <p:grpSpPr>
          <a:xfrm>
            <a:off x="8624989" y="2155830"/>
            <a:ext cx="697111" cy="697111"/>
            <a:chOff x="7104998" y="2155825"/>
            <a:chExt cx="697111" cy="697111"/>
          </a:xfrm>
        </p:grpSpPr>
        <p:sp>
          <p:nvSpPr>
            <p:cNvPr id="21" name="Ellipse 20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3" name="Gruppieren 22"/>
          <p:cNvGrpSpPr/>
          <p:nvPr/>
        </p:nvGrpSpPr>
        <p:grpSpPr>
          <a:xfrm>
            <a:off x="9445114" y="2155830"/>
            <a:ext cx="697111" cy="697111"/>
            <a:chOff x="7921427" y="2155825"/>
            <a:chExt cx="697111" cy="697111"/>
          </a:xfrm>
        </p:grpSpPr>
        <p:sp>
          <p:nvSpPr>
            <p:cNvPr id="24" name="Ellipse 23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9" name="Gruppieren 8"/>
          <p:cNvGrpSpPr/>
          <p:nvPr/>
        </p:nvGrpSpPr>
        <p:grpSpPr>
          <a:xfrm>
            <a:off x="3704251" y="2155830"/>
            <a:ext cx="697111" cy="697111"/>
            <a:chOff x="1389967" y="2155825"/>
            <a:chExt cx="697111" cy="697111"/>
          </a:xfrm>
        </p:grpSpPr>
        <p:sp>
          <p:nvSpPr>
            <p:cNvPr id="27" name="Ellipse 26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5658" y="2281516"/>
              <a:ext cx="445730" cy="445730"/>
            </a:xfrm>
            <a:prstGeom prst="rect">
              <a:avLst/>
            </a:prstGeom>
          </p:spPr>
        </p:pic>
      </p:grpSp>
      <p:grpSp>
        <p:nvGrpSpPr>
          <p:cNvPr id="11" name="Gruppieren 10"/>
          <p:cNvGrpSpPr/>
          <p:nvPr/>
        </p:nvGrpSpPr>
        <p:grpSpPr>
          <a:xfrm>
            <a:off x="5344497" y="2155830"/>
            <a:ext cx="697111" cy="697111"/>
            <a:chOff x="3022833" y="2155825"/>
            <a:chExt cx="697111" cy="697111"/>
          </a:xfrm>
        </p:grpSpPr>
        <p:sp>
          <p:nvSpPr>
            <p:cNvPr id="30" name="Ellipse 29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7" name="Gruppieren 16"/>
          <p:cNvGrpSpPr/>
          <p:nvPr/>
        </p:nvGrpSpPr>
        <p:grpSpPr>
          <a:xfrm>
            <a:off x="7804866" y="2155830"/>
            <a:ext cx="697111" cy="697111"/>
            <a:chOff x="6288565" y="2155825"/>
            <a:chExt cx="697111" cy="697111"/>
          </a:xfrm>
        </p:grpSpPr>
        <p:sp>
          <p:nvSpPr>
            <p:cNvPr id="36" name="Ellipse 35"/>
            <p:cNvSpPr/>
            <p:nvPr/>
          </p:nvSpPr>
          <p:spPr>
            <a:xfrm>
              <a:off x="6288565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7" name="Grafik 36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3938" y="2301198"/>
              <a:ext cx="406366" cy="406366"/>
            </a:xfrm>
            <a:prstGeom prst="rect">
              <a:avLst/>
            </a:prstGeom>
          </p:spPr>
        </p:pic>
      </p:grpSp>
      <p:grpSp>
        <p:nvGrpSpPr>
          <p:cNvPr id="132" name="Gruppieren 131"/>
          <p:cNvGrpSpPr/>
          <p:nvPr/>
        </p:nvGrpSpPr>
        <p:grpSpPr>
          <a:xfrm>
            <a:off x="2064005" y="2155830"/>
            <a:ext cx="697111" cy="697111"/>
            <a:chOff x="7921427" y="4941168"/>
            <a:chExt cx="697111" cy="697111"/>
          </a:xfrm>
        </p:grpSpPr>
        <p:sp>
          <p:nvSpPr>
            <p:cNvPr id="133" name="Ellipse 132"/>
            <p:cNvSpPr/>
            <p:nvPr/>
          </p:nvSpPr>
          <p:spPr>
            <a:xfrm>
              <a:off x="792142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4" name="Grafik 133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7872" y="5077613"/>
              <a:ext cx="424222" cy="424222"/>
            </a:xfrm>
            <a:prstGeom prst="rect">
              <a:avLst/>
            </a:prstGeom>
          </p:spPr>
        </p:pic>
      </p:grpSp>
      <p:grpSp>
        <p:nvGrpSpPr>
          <p:cNvPr id="107" name="Gruppieren 106"/>
          <p:cNvGrpSpPr/>
          <p:nvPr/>
        </p:nvGrpSpPr>
        <p:grpSpPr>
          <a:xfrm>
            <a:off x="2885401" y="5606179"/>
            <a:ext cx="697111" cy="697111"/>
            <a:chOff x="7104998" y="2155825"/>
            <a:chExt cx="697111" cy="697111"/>
          </a:xfrm>
        </p:grpSpPr>
        <p:sp>
          <p:nvSpPr>
            <p:cNvPr id="110" name="Ellipse 109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1" name="Grafik 110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8506" y="2309333"/>
              <a:ext cx="390096" cy="390096"/>
            </a:xfrm>
            <a:prstGeom prst="rect">
              <a:avLst/>
            </a:prstGeom>
          </p:spPr>
        </p:pic>
      </p:grpSp>
      <p:grpSp>
        <p:nvGrpSpPr>
          <p:cNvPr id="112" name="Gruppieren 111"/>
          <p:cNvGrpSpPr/>
          <p:nvPr/>
        </p:nvGrpSpPr>
        <p:grpSpPr>
          <a:xfrm>
            <a:off x="3706797" y="5606179"/>
            <a:ext cx="697111" cy="697111"/>
            <a:chOff x="7921427" y="2155825"/>
            <a:chExt cx="697111" cy="697111"/>
          </a:xfrm>
        </p:grpSpPr>
        <p:sp>
          <p:nvSpPr>
            <p:cNvPr id="113" name="Ellipse 112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4" name="Grafik 113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9664" y="2284062"/>
              <a:ext cx="440638" cy="440638"/>
            </a:xfrm>
            <a:prstGeom prst="rect">
              <a:avLst/>
            </a:prstGeom>
          </p:spPr>
        </p:pic>
      </p:grpSp>
      <p:grpSp>
        <p:nvGrpSpPr>
          <p:cNvPr id="115" name="Gruppieren 114"/>
          <p:cNvGrpSpPr/>
          <p:nvPr/>
        </p:nvGrpSpPr>
        <p:grpSpPr>
          <a:xfrm>
            <a:off x="2064005" y="5606179"/>
            <a:ext cx="697111" cy="697111"/>
            <a:chOff x="573534" y="3068960"/>
            <a:chExt cx="697111" cy="697111"/>
          </a:xfrm>
        </p:grpSpPr>
        <p:sp>
          <p:nvSpPr>
            <p:cNvPr id="116" name="Ellipse 115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7" name="Grafik 116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513" y="3171538"/>
              <a:ext cx="441154" cy="441154"/>
            </a:xfrm>
            <a:prstGeom prst="rect">
              <a:avLst/>
            </a:prstGeom>
          </p:spPr>
        </p:pic>
      </p:grpSp>
      <p:grpSp>
        <p:nvGrpSpPr>
          <p:cNvPr id="118" name="Gruppieren 117"/>
          <p:cNvGrpSpPr/>
          <p:nvPr/>
        </p:nvGrpSpPr>
        <p:grpSpPr>
          <a:xfrm>
            <a:off x="4528193" y="5606179"/>
            <a:ext cx="697111" cy="697111"/>
            <a:chOff x="3839266" y="3068960"/>
            <a:chExt cx="697111" cy="697111"/>
          </a:xfrm>
        </p:grpSpPr>
        <p:sp>
          <p:nvSpPr>
            <p:cNvPr id="119" name="Ellipse 118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2" name="Grafik 121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3492" y="3203186"/>
              <a:ext cx="428660" cy="428660"/>
            </a:xfrm>
            <a:prstGeom prst="rect">
              <a:avLst/>
            </a:prstGeom>
          </p:spPr>
        </p:pic>
      </p:grpSp>
      <p:grpSp>
        <p:nvGrpSpPr>
          <p:cNvPr id="135" name="Gruppieren 134"/>
          <p:cNvGrpSpPr/>
          <p:nvPr/>
        </p:nvGrpSpPr>
        <p:grpSpPr>
          <a:xfrm>
            <a:off x="6170985" y="5606179"/>
            <a:ext cx="697111" cy="697111"/>
            <a:chOff x="7921427" y="3068960"/>
            <a:chExt cx="697111" cy="697111"/>
          </a:xfrm>
        </p:grpSpPr>
        <p:sp>
          <p:nvSpPr>
            <p:cNvPr id="136" name="Ellipse 135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7" name="Grafik 136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38" name="Gruppieren 137"/>
          <p:cNvGrpSpPr/>
          <p:nvPr/>
        </p:nvGrpSpPr>
        <p:grpSpPr>
          <a:xfrm>
            <a:off x="6992381" y="5606179"/>
            <a:ext cx="697111" cy="697111"/>
            <a:chOff x="1389967" y="3068960"/>
            <a:chExt cx="697111" cy="697111"/>
          </a:xfrm>
        </p:grpSpPr>
        <p:sp>
          <p:nvSpPr>
            <p:cNvPr id="139" name="Ellipse 138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0" name="Grafik 139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5655" y="3214648"/>
              <a:ext cx="405736" cy="405736"/>
            </a:xfrm>
            <a:prstGeom prst="rect">
              <a:avLst/>
            </a:prstGeom>
          </p:spPr>
        </p:pic>
      </p:grpSp>
      <p:grpSp>
        <p:nvGrpSpPr>
          <p:cNvPr id="141" name="Gruppieren 140"/>
          <p:cNvGrpSpPr/>
          <p:nvPr/>
        </p:nvGrpSpPr>
        <p:grpSpPr>
          <a:xfrm>
            <a:off x="5349589" y="5606179"/>
            <a:ext cx="697111" cy="697111"/>
            <a:chOff x="4655699" y="3068960"/>
            <a:chExt cx="697111" cy="697111"/>
          </a:xfrm>
        </p:grpSpPr>
        <p:sp>
          <p:nvSpPr>
            <p:cNvPr id="142" name="Ellipse 141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3" name="Grafik 142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1128" y="3214389"/>
              <a:ext cx="406254" cy="406254"/>
            </a:xfrm>
            <a:prstGeom prst="rect">
              <a:avLst/>
            </a:prstGeom>
          </p:spPr>
        </p:pic>
      </p:grpSp>
      <p:grpSp>
        <p:nvGrpSpPr>
          <p:cNvPr id="144" name="Gruppieren 143"/>
          <p:cNvGrpSpPr/>
          <p:nvPr/>
        </p:nvGrpSpPr>
        <p:grpSpPr>
          <a:xfrm>
            <a:off x="8635171" y="5606179"/>
            <a:ext cx="697111" cy="697111"/>
            <a:chOff x="5472132" y="3068960"/>
            <a:chExt cx="697111" cy="697111"/>
          </a:xfrm>
        </p:grpSpPr>
        <p:sp>
          <p:nvSpPr>
            <p:cNvPr id="145" name="Ellipse 144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6" name="Grafik 145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1143" y="3197971"/>
              <a:ext cx="439090" cy="439090"/>
            </a:xfrm>
            <a:prstGeom prst="rect">
              <a:avLst/>
            </a:prstGeom>
          </p:spPr>
        </p:pic>
      </p:grpSp>
      <p:grpSp>
        <p:nvGrpSpPr>
          <p:cNvPr id="147" name="Gruppieren 146"/>
          <p:cNvGrpSpPr/>
          <p:nvPr/>
        </p:nvGrpSpPr>
        <p:grpSpPr>
          <a:xfrm>
            <a:off x="7813777" y="5606179"/>
            <a:ext cx="697111" cy="697111"/>
            <a:chOff x="5472132" y="4941168"/>
            <a:chExt cx="697111" cy="697111"/>
          </a:xfrm>
        </p:grpSpPr>
        <p:sp>
          <p:nvSpPr>
            <p:cNvPr id="148" name="Ellipse 147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9" name="Grafik 148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6416" y="5095452"/>
              <a:ext cx="388544" cy="388544"/>
            </a:xfrm>
            <a:prstGeom prst="rect">
              <a:avLst/>
            </a:prstGeom>
          </p:spPr>
        </p:pic>
      </p:grpSp>
      <p:grpSp>
        <p:nvGrpSpPr>
          <p:cNvPr id="68" name="Gruppieren 67"/>
          <p:cNvGrpSpPr/>
          <p:nvPr/>
        </p:nvGrpSpPr>
        <p:grpSpPr>
          <a:xfrm>
            <a:off x="2064005" y="4743591"/>
            <a:ext cx="697111" cy="697111"/>
            <a:chOff x="5472132" y="4005064"/>
            <a:chExt cx="697111" cy="697111"/>
          </a:xfrm>
        </p:grpSpPr>
        <p:sp>
          <p:nvSpPr>
            <p:cNvPr id="81" name="Ellipse 80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2" name="Grafik 81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4615" y="4146745"/>
              <a:ext cx="396816" cy="396816"/>
            </a:xfrm>
            <a:prstGeom prst="rect">
              <a:avLst/>
            </a:prstGeom>
          </p:spPr>
        </p:pic>
      </p:grpSp>
      <p:grpSp>
        <p:nvGrpSpPr>
          <p:cNvPr id="71" name="Gruppieren 70"/>
          <p:cNvGrpSpPr/>
          <p:nvPr/>
        </p:nvGrpSpPr>
        <p:grpSpPr>
          <a:xfrm>
            <a:off x="2884128" y="4743591"/>
            <a:ext cx="697111" cy="697111"/>
            <a:chOff x="6288565" y="4005064"/>
            <a:chExt cx="697111" cy="697111"/>
          </a:xfrm>
        </p:grpSpPr>
        <p:sp>
          <p:nvSpPr>
            <p:cNvPr id="99" name="Ellipse 98"/>
            <p:cNvSpPr/>
            <p:nvPr/>
          </p:nvSpPr>
          <p:spPr>
            <a:xfrm>
              <a:off x="6288565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0" name="Grafik 99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3133" y="4199632"/>
              <a:ext cx="307976" cy="307976"/>
            </a:xfrm>
            <a:prstGeom prst="rect">
              <a:avLst/>
            </a:prstGeom>
          </p:spPr>
        </p:pic>
      </p:grpSp>
      <p:grpSp>
        <p:nvGrpSpPr>
          <p:cNvPr id="125" name="Gruppieren 124"/>
          <p:cNvGrpSpPr/>
          <p:nvPr/>
        </p:nvGrpSpPr>
        <p:grpSpPr>
          <a:xfrm>
            <a:off x="3704251" y="4743591"/>
            <a:ext cx="697111" cy="697111"/>
            <a:chOff x="573534" y="4005064"/>
            <a:chExt cx="697111" cy="697111"/>
          </a:xfrm>
        </p:grpSpPr>
        <p:sp>
          <p:nvSpPr>
            <p:cNvPr id="128" name="Ellipse 127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1" name="Grafik 130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50" y="4100446"/>
              <a:ext cx="472480" cy="472480"/>
            </a:xfrm>
            <a:prstGeom prst="rect">
              <a:avLst/>
            </a:prstGeom>
          </p:spPr>
        </p:pic>
      </p:grpSp>
      <p:grpSp>
        <p:nvGrpSpPr>
          <p:cNvPr id="150" name="Gruppieren 149"/>
          <p:cNvGrpSpPr/>
          <p:nvPr/>
        </p:nvGrpSpPr>
        <p:grpSpPr>
          <a:xfrm>
            <a:off x="5344497" y="4743591"/>
            <a:ext cx="697111" cy="697111"/>
            <a:chOff x="2206400" y="4005064"/>
            <a:chExt cx="697111" cy="697111"/>
          </a:xfrm>
        </p:grpSpPr>
        <p:sp>
          <p:nvSpPr>
            <p:cNvPr id="151" name="Ellipse 150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2" name="Grafik 151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671" y="4162335"/>
              <a:ext cx="382570" cy="382570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/>
          <p:nvPr/>
        </p:nvGrpSpPr>
        <p:grpSpPr>
          <a:xfrm>
            <a:off x="6984743" y="4743591"/>
            <a:ext cx="697111" cy="697111"/>
            <a:chOff x="3839266" y="4005064"/>
            <a:chExt cx="697111" cy="697111"/>
          </a:xfrm>
        </p:grpSpPr>
        <p:sp>
          <p:nvSpPr>
            <p:cNvPr id="154" name="Ellipse 153"/>
            <p:cNvSpPr/>
            <p:nvPr/>
          </p:nvSpPr>
          <p:spPr>
            <a:xfrm>
              <a:off x="3839266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5" name="Grafik 154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0947" y="4146745"/>
              <a:ext cx="413750" cy="413750"/>
            </a:xfrm>
            <a:prstGeom prst="rect">
              <a:avLst/>
            </a:prstGeom>
          </p:spPr>
        </p:pic>
      </p:grpSp>
      <p:grpSp>
        <p:nvGrpSpPr>
          <p:cNvPr id="156" name="Gruppieren 155"/>
          <p:cNvGrpSpPr/>
          <p:nvPr/>
        </p:nvGrpSpPr>
        <p:grpSpPr>
          <a:xfrm>
            <a:off x="8624989" y="4743591"/>
            <a:ext cx="697111" cy="697111"/>
            <a:chOff x="5472132" y="4005064"/>
            <a:chExt cx="697111" cy="697111"/>
          </a:xfrm>
        </p:grpSpPr>
        <p:sp>
          <p:nvSpPr>
            <p:cNvPr id="157" name="Ellipse 156"/>
            <p:cNvSpPr/>
            <p:nvPr/>
          </p:nvSpPr>
          <p:spPr>
            <a:xfrm>
              <a:off x="5472132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8" name="Grafik 157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9047" y="4108913"/>
              <a:ext cx="472480" cy="472480"/>
            </a:xfrm>
            <a:prstGeom prst="rect">
              <a:avLst/>
            </a:prstGeom>
          </p:spPr>
        </p:pic>
      </p:grpSp>
      <p:grpSp>
        <p:nvGrpSpPr>
          <p:cNvPr id="159" name="Gruppieren 158"/>
          <p:cNvGrpSpPr/>
          <p:nvPr/>
        </p:nvGrpSpPr>
        <p:grpSpPr>
          <a:xfrm>
            <a:off x="4524374" y="4743591"/>
            <a:ext cx="697111" cy="697111"/>
            <a:chOff x="1389967" y="4005064"/>
            <a:chExt cx="697111" cy="697111"/>
          </a:xfrm>
        </p:grpSpPr>
        <p:sp>
          <p:nvSpPr>
            <p:cNvPr id="160" name="Ellipse 159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1" name="Grafik 160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4100446"/>
              <a:ext cx="472480" cy="472480"/>
            </a:xfrm>
            <a:prstGeom prst="rect">
              <a:avLst/>
            </a:prstGeom>
          </p:spPr>
        </p:pic>
      </p:grpSp>
      <p:grpSp>
        <p:nvGrpSpPr>
          <p:cNvPr id="162" name="Gruppieren 161"/>
          <p:cNvGrpSpPr/>
          <p:nvPr/>
        </p:nvGrpSpPr>
        <p:grpSpPr>
          <a:xfrm>
            <a:off x="6164620" y="4743591"/>
            <a:ext cx="697111" cy="697111"/>
            <a:chOff x="3022833" y="4005064"/>
            <a:chExt cx="697111" cy="697111"/>
          </a:xfrm>
        </p:grpSpPr>
        <p:sp>
          <p:nvSpPr>
            <p:cNvPr id="163" name="Ellipse 162"/>
            <p:cNvSpPr/>
            <p:nvPr/>
          </p:nvSpPr>
          <p:spPr>
            <a:xfrm>
              <a:off x="3022833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4" name="Grafik 163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3560" y="4135791"/>
              <a:ext cx="435658" cy="435658"/>
            </a:xfrm>
            <a:prstGeom prst="rect">
              <a:avLst/>
            </a:prstGeom>
          </p:spPr>
        </p:pic>
      </p:grpSp>
      <p:grpSp>
        <p:nvGrpSpPr>
          <p:cNvPr id="165" name="Gruppieren 164"/>
          <p:cNvGrpSpPr/>
          <p:nvPr/>
        </p:nvGrpSpPr>
        <p:grpSpPr>
          <a:xfrm>
            <a:off x="7804866" y="4743591"/>
            <a:ext cx="697111" cy="697111"/>
            <a:chOff x="4655699" y="4005064"/>
            <a:chExt cx="697111" cy="697111"/>
          </a:xfrm>
        </p:grpSpPr>
        <p:sp>
          <p:nvSpPr>
            <p:cNvPr id="166" name="Ellipse 165"/>
            <p:cNvSpPr/>
            <p:nvPr/>
          </p:nvSpPr>
          <p:spPr>
            <a:xfrm>
              <a:off x="4655699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0446" y="4129811"/>
              <a:ext cx="447618" cy="447618"/>
            </a:xfrm>
            <a:prstGeom prst="rect">
              <a:avLst/>
            </a:prstGeom>
          </p:spPr>
        </p:pic>
      </p:grpSp>
      <p:grpSp>
        <p:nvGrpSpPr>
          <p:cNvPr id="168" name="Gruppieren 167"/>
          <p:cNvGrpSpPr/>
          <p:nvPr/>
        </p:nvGrpSpPr>
        <p:grpSpPr>
          <a:xfrm>
            <a:off x="9445114" y="4743591"/>
            <a:ext cx="697111" cy="697111"/>
            <a:chOff x="7921427" y="4005064"/>
            <a:chExt cx="697111" cy="697111"/>
          </a:xfrm>
        </p:grpSpPr>
        <p:sp>
          <p:nvSpPr>
            <p:cNvPr id="169" name="Ellipse 168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0" name="Grafik 169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7581" y="4131218"/>
              <a:ext cx="444804" cy="444804"/>
            </a:xfrm>
            <a:prstGeom prst="rect">
              <a:avLst/>
            </a:prstGeom>
          </p:spPr>
        </p:pic>
      </p:grpSp>
      <p:grpSp>
        <p:nvGrpSpPr>
          <p:cNvPr id="171" name="Gruppieren 170"/>
          <p:cNvGrpSpPr/>
          <p:nvPr/>
        </p:nvGrpSpPr>
        <p:grpSpPr>
          <a:xfrm>
            <a:off x="9445432" y="5606179"/>
            <a:ext cx="697111" cy="697111"/>
            <a:chOff x="5472132" y="3068960"/>
            <a:chExt cx="697111" cy="697111"/>
          </a:xfrm>
        </p:grpSpPr>
        <p:sp>
          <p:nvSpPr>
            <p:cNvPr id="172" name="Ellipse 171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3" name="Grafik 172"/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1143" y="3197971"/>
              <a:ext cx="439090" cy="439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1741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11"/>
          <p:cNvCxnSpPr/>
          <p:nvPr/>
        </p:nvCxnSpPr>
        <p:spPr>
          <a:xfrm flipV="1">
            <a:off x="6609469" y="3144663"/>
            <a:ext cx="0" cy="2557562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V="1">
            <a:off x="4333788" y="3144663"/>
            <a:ext cx="0" cy="2557562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 flipV="1">
            <a:off x="5518383" y="4285343"/>
            <a:ext cx="0" cy="1416882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V="1">
            <a:off x="3292605" y="4197465"/>
            <a:ext cx="0" cy="1504765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flipV="1">
            <a:off x="7925985" y="4423449"/>
            <a:ext cx="0" cy="1278781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flipV="1">
            <a:off x="9020110" y="3144663"/>
            <a:ext cx="0" cy="2557562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17"/>
          <p:cNvSpPr/>
          <p:nvPr/>
        </p:nvSpPr>
        <p:spPr>
          <a:xfrm>
            <a:off x="2383386" y="5445229"/>
            <a:ext cx="7601046" cy="633323"/>
          </a:xfrm>
          <a:prstGeom prst="roundRect">
            <a:avLst>
              <a:gd name="adj" fmla="val 1078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 anchorCtr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9" name="Ellipse 18"/>
          <p:cNvSpPr/>
          <p:nvPr/>
        </p:nvSpPr>
        <p:spPr>
          <a:xfrm>
            <a:off x="3692421" y="2255107"/>
            <a:ext cx="1282734" cy="12827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0" name="Ellipse 19"/>
          <p:cNvSpPr/>
          <p:nvPr/>
        </p:nvSpPr>
        <p:spPr>
          <a:xfrm>
            <a:off x="4852857" y="3701720"/>
            <a:ext cx="1331052" cy="13310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Ellipse 20"/>
          <p:cNvSpPr/>
          <p:nvPr/>
        </p:nvSpPr>
        <p:spPr>
          <a:xfrm>
            <a:off x="2649450" y="3576711"/>
            <a:ext cx="1286310" cy="12863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2" name="Rechteck 21"/>
          <p:cNvSpPr/>
          <p:nvPr/>
        </p:nvSpPr>
        <p:spPr>
          <a:xfrm>
            <a:off x="6770103" y="2785789"/>
            <a:ext cx="11558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6113">
              <a:spcBef>
                <a:spcPct val="20000"/>
              </a:spcBef>
            </a:pPr>
            <a:endParaRPr lang="en-US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046433" y="2800200"/>
            <a:ext cx="11558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6113">
              <a:spcBef>
                <a:spcPct val="20000"/>
              </a:spcBef>
            </a:pPr>
            <a:endParaRPr lang="en-US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5848965" y="2473838"/>
            <a:ext cx="1499076" cy="149907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5" name="Ellipse 24"/>
          <p:cNvSpPr/>
          <p:nvPr/>
        </p:nvSpPr>
        <p:spPr>
          <a:xfrm>
            <a:off x="7174143" y="3576711"/>
            <a:ext cx="1503684" cy="150368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6" name="Ellipse 25"/>
          <p:cNvSpPr/>
          <p:nvPr/>
        </p:nvSpPr>
        <p:spPr>
          <a:xfrm>
            <a:off x="8415828" y="2540381"/>
            <a:ext cx="1208564" cy="120856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05623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/>
          <p:cNvSpPr/>
          <p:nvPr/>
        </p:nvSpPr>
        <p:spPr>
          <a:xfrm>
            <a:off x="3647728" y="1037896"/>
            <a:ext cx="4662904" cy="4662904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5030276" y="3244334"/>
            <a:ext cx="232504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0" name="Ellipse 19"/>
          <p:cNvSpPr/>
          <p:nvPr/>
        </p:nvSpPr>
        <p:spPr>
          <a:xfrm>
            <a:off x="3175169" y="3633390"/>
            <a:ext cx="1728000" cy="1728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6" name="Ellipse 25"/>
          <p:cNvSpPr/>
          <p:nvPr/>
        </p:nvSpPr>
        <p:spPr>
          <a:xfrm>
            <a:off x="3143864" y="1412986"/>
            <a:ext cx="1728000" cy="17280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7" name="Ellipse 26"/>
          <p:cNvSpPr/>
          <p:nvPr/>
        </p:nvSpPr>
        <p:spPr>
          <a:xfrm>
            <a:off x="5261716" y="4740212"/>
            <a:ext cx="1728000" cy="1728000"/>
          </a:xfrm>
          <a:prstGeom prst="ellipse">
            <a:avLst/>
          </a:prstGeom>
          <a:solidFill>
            <a:schemeClr val="tx2"/>
          </a:solidFill>
          <a:ln w="50800" cap="sq" cmpd="sng">
            <a:solidFill>
              <a:schemeClr val="tx2"/>
            </a:solidFill>
            <a:prstDash val="sysDot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8" name="Ellipse 27"/>
          <p:cNvSpPr/>
          <p:nvPr/>
        </p:nvSpPr>
        <p:spPr>
          <a:xfrm>
            <a:off x="5250954" y="404664"/>
            <a:ext cx="1728000" cy="1728000"/>
          </a:xfrm>
          <a:prstGeom prst="ellipse">
            <a:avLst/>
          </a:prstGeom>
          <a:solidFill>
            <a:schemeClr val="tx2"/>
          </a:solidFill>
          <a:ln w="50800" cap="sq" cmpd="sng">
            <a:solidFill>
              <a:schemeClr val="tx2"/>
            </a:solidFill>
            <a:prstDash val="sysDot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9" name="Ellipse 28"/>
          <p:cNvSpPr/>
          <p:nvPr/>
        </p:nvSpPr>
        <p:spPr>
          <a:xfrm>
            <a:off x="7389490" y="3629390"/>
            <a:ext cx="1728000" cy="1728000"/>
          </a:xfrm>
          <a:prstGeom prst="ellipse">
            <a:avLst/>
          </a:prstGeom>
          <a:solidFill>
            <a:schemeClr val="tx2"/>
          </a:solidFill>
          <a:ln w="50800" cap="sq" cmpd="sng">
            <a:solidFill>
              <a:schemeClr val="tx2"/>
            </a:solidFill>
            <a:prstDash val="sysDot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0" name="Ellipse 29"/>
          <p:cNvSpPr/>
          <p:nvPr/>
        </p:nvSpPr>
        <p:spPr>
          <a:xfrm>
            <a:off x="7389490" y="1408986"/>
            <a:ext cx="1728000" cy="1728000"/>
          </a:xfrm>
          <a:prstGeom prst="ellipse">
            <a:avLst/>
          </a:prstGeom>
          <a:solidFill>
            <a:schemeClr val="tx2"/>
          </a:solidFill>
          <a:ln w="50800" cap="sq" cmpd="sng">
            <a:solidFill>
              <a:schemeClr val="tx2"/>
            </a:solidFill>
            <a:prstDash val="sysDot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0" bIns="0" rtlCol="0" anchor="ctr" anchorCtr="0"/>
          <a:lstStyle/>
          <a:p>
            <a:pPr algn="ctr"/>
            <a:r>
              <a:rPr lang="de-DE" sz="2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1504958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Gerade Verbindung 2"/>
          <p:cNvCxnSpPr>
            <a:cxnSpLocks noChangeShapeType="1"/>
          </p:cNvCxnSpPr>
          <p:nvPr/>
        </p:nvCxnSpPr>
        <p:spPr bwMode="auto">
          <a:xfrm>
            <a:off x="3578225" y="2994025"/>
            <a:ext cx="0" cy="169545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Gerade Verbindung 4"/>
          <p:cNvCxnSpPr>
            <a:cxnSpLocks noChangeShapeType="1"/>
          </p:cNvCxnSpPr>
          <p:nvPr/>
        </p:nvCxnSpPr>
        <p:spPr bwMode="auto">
          <a:xfrm>
            <a:off x="3578230" y="4679950"/>
            <a:ext cx="436563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Gerade Verbindung 6"/>
          <p:cNvCxnSpPr>
            <a:cxnSpLocks noChangeShapeType="1"/>
          </p:cNvCxnSpPr>
          <p:nvPr/>
        </p:nvCxnSpPr>
        <p:spPr bwMode="auto">
          <a:xfrm flipH="1" flipV="1">
            <a:off x="8510593" y="2824163"/>
            <a:ext cx="3175" cy="1865312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5" name="Abgerundetes Rechteck 44"/>
          <p:cNvSpPr/>
          <p:nvPr/>
        </p:nvSpPr>
        <p:spPr>
          <a:xfrm>
            <a:off x="3362325" y="2554288"/>
            <a:ext cx="5397500" cy="539750"/>
          </a:xfrm>
          <a:prstGeom prst="roundRect">
            <a:avLst>
              <a:gd name="adj" fmla="val 1559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47" name="Gerade Verbindung 27"/>
          <p:cNvCxnSpPr>
            <a:cxnSpLocks noChangeShapeType="1"/>
          </p:cNvCxnSpPr>
          <p:nvPr/>
        </p:nvCxnSpPr>
        <p:spPr bwMode="auto">
          <a:xfrm flipV="1">
            <a:off x="8075613" y="4678363"/>
            <a:ext cx="438150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Abgerundetes Rechteck 19"/>
          <p:cNvSpPr/>
          <p:nvPr/>
        </p:nvSpPr>
        <p:spPr>
          <a:xfrm>
            <a:off x="4014793" y="3429005"/>
            <a:ext cx="644525" cy="2492375"/>
          </a:xfrm>
          <a:prstGeom prst="roundRect">
            <a:avLst>
              <a:gd name="adj" fmla="val 1559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>
              <a:defRPr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Abgerundetes Rechteck 20"/>
          <p:cNvSpPr/>
          <p:nvPr/>
        </p:nvSpPr>
        <p:spPr>
          <a:xfrm>
            <a:off x="5178315" y="3429005"/>
            <a:ext cx="644525" cy="2492375"/>
          </a:xfrm>
          <a:prstGeom prst="roundRect">
            <a:avLst>
              <a:gd name="adj" fmla="val 1559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>
              <a:defRPr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6291267" y="3429005"/>
            <a:ext cx="644525" cy="2492375"/>
          </a:xfrm>
          <a:prstGeom prst="roundRect">
            <a:avLst>
              <a:gd name="adj" fmla="val 1559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>
              <a:defRPr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3" name="Abgerundetes Rechteck 22"/>
          <p:cNvSpPr/>
          <p:nvPr/>
        </p:nvSpPr>
        <p:spPr>
          <a:xfrm>
            <a:off x="7431093" y="3429005"/>
            <a:ext cx="644525" cy="2492375"/>
          </a:xfrm>
          <a:prstGeom prst="roundRect">
            <a:avLst>
              <a:gd name="adj" fmla="val 1559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>
              <a:defRPr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2301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4004" y="2340000"/>
            <a:ext cx="2484597" cy="3753296"/>
          </a:xfrm>
          <a:prstGeom prst="roundRect">
            <a:avLst>
              <a:gd name="adj" fmla="val 5081"/>
            </a:avLst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>
            <a:noAutofit/>
          </a:bodyPr>
          <a:lstStyle/>
          <a:p>
            <a:pPr marL="0" indent="0">
              <a:buNone/>
            </a:pPr>
            <a:r>
              <a:rPr lang="de-DE" sz="1100" b="1" dirty="0"/>
              <a:t>Text</a:t>
            </a:r>
          </a:p>
          <a:p>
            <a:r>
              <a:rPr lang="de-DE" sz="1100" dirty="0"/>
              <a:t>Lorem </a:t>
            </a:r>
            <a:r>
              <a:rPr lang="de-DE" sz="1100" dirty="0" err="1"/>
              <a:t>ipsum</a:t>
            </a:r>
            <a:r>
              <a:rPr lang="de-DE" sz="1100" dirty="0"/>
              <a:t> </a:t>
            </a:r>
            <a:r>
              <a:rPr lang="de-DE" sz="1100" dirty="0" err="1"/>
              <a:t>dolor</a:t>
            </a:r>
            <a:r>
              <a:rPr lang="de-DE" sz="1100" dirty="0"/>
              <a:t> </a:t>
            </a:r>
            <a:r>
              <a:rPr lang="de-DE" sz="1100" dirty="0" err="1"/>
              <a:t>sit</a:t>
            </a:r>
            <a:r>
              <a:rPr lang="de-DE" sz="1100" dirty="0"/>
              <a:t> </a:t>
            </a:r>
            <a:r>
              <a:rPr lang="de-DE" sz="1100" dirty="0" err="1"/>
              <a:t>amet</a:t>
            </a:r>
            <a:r>
              <a:rPr lang="de-DE" sz="1100" dirty="0"/>
              <a:t>, </a:t>
            </a:r>
            <a:r>
              <a:rPr lang="de-DE" sz="1100" dirty="0" err="1"/>
              <a:t>consectetuer</a:t>
            </a:r>
            <a:r>
              <a:rPr lang="de-DE" sz="1100" dirty="0"/>
              <a:t> </a:t>
            </a:r>
            <a:r>
              <a:rPr lang="de-DE" sz="1100" dirty="0" err="1"/>
              <a:t>adipiscing</a:t>
            </a:r>
            <a:r>
              <a:rPr lang="de-DE" sz="1100" dirty="0"/>
              <a:t> </a:t>
            </a:r>
            <a:r>
              <a:rPr lang="de-DE" sz="1100" dirty="0" err="1"/>
              <a:t>elit</a:t>
            </a:r>
            <a:r>
              <a:rPr lang="de-DE" sz="1100" dirty="0"/>
              <a:t>. </a:t>
            </a:r>
            <a:r>
              <a:rPr lang="de-DE" sz="1100" dirty="0" err="1"/>
              <a:t>Aenean</a:t>
            </a:r>
            <a:r>
              <a:rPr lang="de-DE" sz="1100" dirty="0"/>
              <a:t> commodo </a:t>
            </a:r>
            <a:r>
              <a:rPr lang="de-DE" sz="1100" dirty="0" err="1"/>
              <a:t>ligula</a:t>
            </a:r>
            <a:r>
              <a:rPr lang="de-DE" sz="1100" dirty="0"/>
              <a:t> </a:t>
            </a:r>
            <a:r>
              <a:rPr lang="de-DE" sz="1100" dirty="0" err="1"/>
              <a:t>eget</a:t>
            </a:r>
            <a:r>
              <a:rPr lang="de-DE" sz="1100" dirty="0"/>
              <a:t> </a:t>
            </a:r>
            <a:r>
              <a:rPr lang="de-DE" sz="1100" dirty="0" err="1"/>
              <a:t>dolor</a:t>
            </a:r>
            <a:r>
              <a:rPr lang="de-DE" sz="1100" dirty="0"/>
              <a:t>. </a:t>
            </a:r>
            <a:r>
              <a:rPr lang="de-DE" sz="1100" dirty="0" err="1"/>
              <a:t>Aenean</a:t>
            </a:r>
            <a:r>
              <a:rPr lang="de-DE" sz="1100" dirty="0"/>
              <a:t> </a:t>
            </a:r>
            <a:r>
              <a:rPr lang="de-DE" sz="1100" dirty="0" err="1"/>
              <a:t>massa</a:t>
            </a:r>
            <a:r>
              <a:rPr lang="de-DE" sz="1100" dirty="0"/>
              <a:t>.</a:t>
            </a:r>
          </a:p>
          <a:p>
            <a:r>
              <a:rPr lang="de-DE" sz="1100" dirty="0"/>
              <a:t>Cum </a:t>
            </a:r>
            <a:r>
              <a:rPr lang="de-DE" sz="1100" dirty="0" err="1"/>
              <a:t>sociis</a:t>
            </a:r>
            <a:r>
              <a:rPr lang="de-DE" sz="1100" dirty="0"/>
              <a:t> </a:t>
            </a:r>
            <a:r>
              <a:rPr lang="de-DE" sz="1100" dirty="0" err="1"/>
              <a:t>natoque</a:t>
            </a:r>
            <a:r>
              <a:rPr lang="de-DE" sz="1100" dirty="0"/>
              <a:t> </a:t>
            </a:r>
            <a:r>
              <a:rPr lang="de-DE" sz="1100" dirty="0" err="1"/>
              <a:t>penatibus</a:t>
            </a:r>
            <a:r>
              <a:rPr lang="de-DE" sz="1100" dirty="0"/>
              <a:t> et </a:t>
            </a:r>
            <a:r>
              <a:rPr lang="de-DE" sz="1100" dirty="0" err="1"/>
              <a:t>magnis</a:t>
            </a:r>
            <a:r>
              <a:rPr lang="de-DE" sz="1100" dirty="0"/>
              <a:t> </a:t>
            </a:r>
            <a:r>
              <a:rPr lang="de-DE" sz="1100" dirty="0" err="1"/>
              <a:t>dis</a:t>
            </a:r>
            <a:r>
              <a:rPr lang="de-DE" sz="1100" dirty="0"/>
              <a:t> </a:t>
            </a:r>
            <a:r>
              <a:rPr lang="de-DE" sz="1100" dirty="0" err="1"/>
              <a:t>parturient</a:t>
            </a:r>
            <a:r>
              <a:rPr lang="de-DE" sz="1100" dirty="0"/>
              <a:t> </a:t>
            </a:r>
            <a:r>
              <a:rPr lang="de-DE" sz="1100" dirty="0" err="1"/>
              <a:t>montes</a:t>
            </a:r>
            <a:r>
              <a:rPr lang="de-DE" sz="1100" dirty="0"/>
              <a:t>, </a:t>
            </a:r>
            <a:r>
              <a:rPr lang="de-DE" sz="1100" dirty="0" err="1"/>
              <a:t>nascetur</a:t>
            </a:r>
            <a:r>
              <a:rPr lang="de-DE" sz="1100" dirty="0"/>
              <a:t> </a:t>
            </a:r>
            <a:r>
              <a:rPr lang="de-DE" sz="1100" dirty="0" err="1"/>
              <a:t>ridiculus</a:t>
            </a:r>
            <a:r>
              <a:rPr lang="de-DE" sz="1100" dirty="0"/>
              <a:t> </a:t>
            </a:r>
            <a:r>
              <a:rPr lang="de-DE" sz="1100" dirty="0" err="1"/>
              <a:t>mus</a:t>
            </a:r>
            <a:r>
              <a:rPr lang="de-DE" sz="1100" dirty="0"/>
              <a:t>. </a:t>
            </a:r>
            <a:r>
              <a:rPr lang="de-DE" sz="1100" dirty="0" err="1"/>
              <a:t>Donec</a:t>
            </a:r>
            <a:r>
              <a:rPr lang="de-DE" sz="1100" dirty="0"/>
              <a:t> </a:t>
            </a:r>
            <a:r>
              <a:rPr lang="de-DE" sz="1100" dirty="0" err="1"/>
              <a:t>quam</a:t>
            </a:r>
            <a:r>
              <a:rPr lang="de-DE" sz="1100" dirty="0"/>
              <a:t> </a:t>
            </a:r>
            <a:r>
              <a:rPr lang="de-DE" sz="1100" dirty="0" err="1"/>
              <a:t>felis</a:t>
            </a:r>
            <a:r>
              <a:rPr lang="de-DE" sz="1100" dirty="0"/>
              <a:t>, </a:t>
            </a:r>
            <a:r>
              <a:rPr lang="de-DE" sz="1100" dirty="0" err="1"/>
              <a:t>ultricies</a:t>
            </a:r>
            <a:r>
              <a:rPr lang="de-DE" sz="1100" dirty="0"/>
              <a:t> </a:t>
            </a:r>
            <a:r>
              <a:rPr lang="de-DE" sz="1100" dirty="0" err="1"/>
              <a:t>nec</a:t>
            </a:r>
            <a:r>
              <a:rPr lang="de-DE" sz="1100" dirty="0"/>
              <a:t>, </a:t>
            </a:r>
            <a:r>
              <a:rPr lang="de-DE" sz="1100" dirty="0" err="1"/>
              <a:t>pellentesque</a:t>
            </a:r>
            <a:r>
              <a:rPr lang="de-DE" sz="1100" dirty="0"/>
              <a:t> </a:t>
            </a:r>
            <a:r>
              <a:rPr lang="de-DE" sz="1100" dirty="0" err="1"/>
              <a:t>eu</a:t>
            </a:r>
            <a:r>
              <a:rPr lang="de-DE" sz="1100" dirty="0"/>
              <a:t>, </a:t>
            </a:r>
            <a:r>
              <a:rPr lang="de-DE" sz="1100" dirty="0" err="1"/>
              <a:t>pretium</a:t>
            </a:r>
            <a:r>
              <a:rPr lang="de-DE" sz="1100" dirty="0"/>
              <a:t> </a:t>
            </a:r>
            <a:r>
              <a:rPr lang="de-DE" sz="1100" dirty="0" err="1"/>
              <a:t>quis</a:t>
            </a:r>
            <a:r>
              <a:rPr lang="de-DE" sz="1100" dirty="0"/>
              <a:t>, </a:t>
            </a:r>
            <a:r>
              <a:rPr lang="de-DE" sz="1100" dirty="0" err="1"/>
              <a:t>sem</a:t>
            </a:r>
            <a:r>
              <a:rPr lang="de-DE" sz="1100" dirty="0"/>
              <a:t>.</a:t>
            </a:r>
          </a:p>
          <a:p>
            <a:r>
              <a:rPr lang="de-DE" sz="1100" dirty="0" err="1"/>
              <a:t>Nulla</a:t>
            </a:r>
            <a:r>
              <a:rPr lang="de-DE" sz="1100" dirty="0"/>
              <a:t> </a:t>
            </a:r>
            <a:r>
              <a:rPr lang="de-DE" sz="1100" dirty="0" err="1"/>
              <a:t>consequat</a:t>
            </a:r>
            <a:r>
              <a:rPr lang="de-DE" sz="1100" dirty="0"/>
              <a:t> </a:t>
            </a:r>
            <a:r>
              <a:rPr lang="de-DE" sz="1100" dirty="0" err="1"/>
              <a:t>massa</a:t>
            </a:r>
            <a:r>
              <a:rPr lang="de-DE" sz="1100" dirty="0"/>
              <a:t> </a:t>
            </a:r>
            <a:r>
              <a:rPr lang="de-DE" sz="1100" dirty="0" err="1"/>
              <a:t>quis</a:t>
            </a:r>
            <a:r>
              <a:rPr lang="de-DE" sz="1100" dirty="0"/>
              <a:t> </a:t>
            </a:r>
            <a:r>
              <a:rPr lang="de-DE" sz="1100" dirty="0" err="1"/>
              <a:t>enim</a:t>
            </a:r>
            <a:r>
              <a:rPr lang="de-DE" sz="1100" dirty="0"/>
              <a:t>. </a:t>
            </a:r>
            <a:r>
              <a:rPr lang="de-DE" sz="1100" dirty="0" err="1"/>
              <a:t>Donec</a:t>
            </a:r>
            <a:r>
              <a:rPr lang="de-DE" sz="1100" dirty="0"/>
              <a:t> </a:t>
            </a:r>
            <a:r>
              <a:rPr lang="de-DE" sz="1100" dirty="0" err="1"/>
              <a:t>pede</a:t>
            </a:r>
            <a:r>
              <a:rPr lang="de-DE" sz="1100" dirty="0"/>
              <a:t> </a:t>
            </a:r>
            <a:r>
              <a:rPr lang="de-DE" sz="1100" dirty="0" err="1"/>
              <a:t>justo</a:t>
            </a:r>
            <a:r>
              <a:rPr lang="de-DE" sz="1100" dirty="0"/>
              <a:t>, </a:t>
            </a:r>
            <a:r>
              <a:rPr lang="de-DE" sz="1100" dirty="0" err="1"/>
              <a:t>fringilla</a:t>
            </a:r>
            <a:r>
              <a:rPr lang="de-DE" sz="1100" dirty="0"/>
              <a:t> </a:t>
            </a:r>
            <a:r>
              <a:rPr lang="de-DE" sz="1100" dirty="0" err="1"/>
              <a:t>vel</a:t>
            </a:r>
            <a:r>
              <a:rPr lang="de-DE" sz="1100" dirty="0"/>
              <a:t>, </a:t>
            </a:r>
            <a:r>
              <a:rPr lang="de-DE" sz="1100" dirty="0" err="1"/>
              <a:t>aliquet</a:t>
            </a:r>
            <a:r>
              <a:rPr lang="de-DE" sz="1100" dirty="0"/>
              <a:t> </a:t>
            </a:r>
            <a:r>
              <a:rPr lang="de-DE" sz="1100" dirty="0" err="1"/>
              <a:t>nec</a:t>
            </a:r>
            <a:r>
              <a:rPr lang="de-DE" sz="1100" dirty="0"/>
              <a:t>, </a:t>
            </a:r>
            <a:r>
              <a:rPr lang="de-DE" sz="1100" dirty="0" err="1"/>
              <a:t>vulputate</a:t>
            </a:r>
            <a:r>
              <a:rPr lang="de-DE" sz="1100" dirty="0"/>
              <a:t> </a:t>
            </a:r>
            <a:r>
              <a:rPr lang="de-DE" sz="1100" dirty="0" err="1"/>
              <a:t>eget</a:t>
            </a:r>
            <a:r>
              <a:rPr lang="de-DE" sz="1100" dirty="0"/>
              <a:t>, </a:t>
            </a:r>
            <a:r>
              <a:rPr lang="de-DE" sz="1100" dirty="0" err="1"/>
              <a:t>arcu</a:t>
            </a:r>
            <a:r>
              <a:rPr lang="de-DE" sz="1100" dirty="0"/>
              <a:t>. In </a:t>
            </a:r>
            <a:r>
              <a:rPr lang="de-DE" sz="1100" dirty="0" err="1"/>
              <a:t>enim</a:t>
            </a:r>
            <a:r>
              <a:rPr lang="de-DE" sz="1100" dirty="0"/>
              <a:t> </a:t>
            </a:r>
            <a:r>
              <a:rPr lang="de-DE" sz="1100" dirty="0" err="1"/>
              <a:t>justo</a:t>
            </a:r>
            <a:r>
              <a:rPr lang="de-DE" sz="1100" dirty="0"/>
              <a:t>, </a:t>
            </a:r>
            <a:r>
              <a:rPr lang="de-DE" sz="1100" dirty="0" err="1"/>
              <a:t>rhoncus</a:t>
            </a:r>
            <a:r>
              <a:rPr lang="de-DE" sz="1100" dirty="0"/>
              <a:t> </a:t>
            </a:r>
            <a:r>
              <a:rPr lang="de-DE" sz="1100" dirty="0" err="1"/>
              <a:t>ut</a:t>
            </a:r>
            <a:r>
              <a:rPr lang="de-DE" sz="1100" dirty="0"/>
              <a:t>, </a:t>
            </a:r>
            <a:r>
              <a:rPr lang="de-DE" sz="1100" dirty="0" err="1"/>
              <a:t>imperdiet</a:t>
            </a:r>
            <a:r>
              <a:rPr lang="de-DE" sz="1100" dirty="0"/>
              <a:t> a, </a:t>
            </a:r>
            <a:r>
              <a:rPr lang="de-DE" sz="1100" dirty="0" err="1"/>
              <a:t>venenatis</a:t>
            </a:r>
            <a:r>
              <a:rPr lang="de-DE" sz="1100" dirty="0"/>
              <a:t> </a:t>
            </a:r>
            <a:r>
              <a:rPr lang="de-DE" sz="1100" dirty="0" err="1"/>
              <a:t>vitae</a:t>
            </a:r>
            <a:r>
              <a:rPr lang="de-DE" sz="1100" dirty="0"/>
              <a:t>, </a:t>
            </a:r>
            <a:r>
              <a:rPr lang="de-DE" sz="1100" dirty="0" err="1"/>
              <a:t>justo</a:t>
            </a:r>
            <a:r>
              <a:rPr lang="de-DE" sz="1100" dirty="0"/>
              <a:t>. </a:t>
            </a:r>
            <a:r>
              <a:rPr lang="de-DE" sz="1100" dirty="0" err="1"/>
              <a:t>Nullam</a:t>
            </a:r>
            <a:r>
              <a:rPr lang="de-DE" sz="1100" dirty="0"/>
              <a:t> </a:t>
            </a:r>
            <a:r>
              <a:rPr lang="de-DE" sz="1100" dirty="0" err="1"/>
              <a:t>dictum</a:t>
            </a:r>
            <a:r>
              <a:rPr lang="de-DE" sz="1100" dirty="0"/>
              <a:t> </a:t>
            </a:r>
            <a:r>
              <a:rPr lang="de-DE" sz="1100" dirty="0" err="1"/>
              <a:t>felis</a:t>
            </a:r>
            <a:r>
              <a:rPr lang="de-DE" sz="1100" dirty="0"/>
              <a:t> </a:t>
            </a:r>
            <a:r>
              <a:rPr lang="de-DE" sz="1100" dirty="0" err="1"/>
              <a:t>eu</a:t>
            </a:r>
            <a:r>
              <a:rPr lang="de-DE" sz="1100" dirty="0"/>
              <a:t> </a:t>
            </a:r>
            <a:r>
              <a:rPr lang="de-DE" sz="1100" dirty="0" err="1"/>
              <a:t>pede</a:t>
            </a:r>
            <a:r>
              <a:rPr lang="de-DE" sz="1100" dirty="0"/>
              <a:t> </a:t>
            </a:r>
            <a:r>
              <a:rPr lang="de-DE" sz="1100" dirty="0" err="1"/>
              <a:t>mollis</a:t>
            </a:r>
            <a:r>
              <a:rPr lang="de-DE" sz="1100" dirty="0"/>
              <a:t> </a:t>
            </a:r>
            <a:r>
              <a:rPr lang="de-DE" sz="1100" dirty="0" err="1"/>
              <a:t>pretium</a:t>
            </a:r>
            <a:r>
              <a:rPr lang="de-DE" sz="1100" dirty="0"/>
              <a:t>. Integer </a:t>
            </a:r>
          </a:p>
        </p:txBody>
      </p:sp>
      <p:sp>
        <p:nvSpPr>
          <p:cNvPr id="23" name="Textplatzhalter 1"/>
          <p:cNvSpPr txBox="1">
            <a:spLocks/>
          </p:cNvSpPr>
          <p:nvPr/>
        </p:nvSpPr>
        <p:spPr>
          <a:xfrm>
            <a:off x="4922859" y="2340000"/>
            <a:ext cx="2926835" cy="3753296"/>
          </a:xfrm>
          <a:prstGeom prst="roundRect">
            <a:avLst>
              <a:gd name="adj" fmla="val 4098"/>
            </a:avLst>
          </a:prstGeom>
          <a:solidFill>
            <a:schemeClr val="bg1"/>
          </a:solidFill>
          <a:ln>
            <a:noFill/>
          </a:ln>
        </p:spPr>
        <p:txBody>
          <a:bodyPr wrap="square" lIns="72000" tIns="72000" rIns="360000" bIns="7200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49263" indent="-2714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269875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68400" indent="-2714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100" b="1" dirty="0"/>
              <a:t>Text </a:t>
            </a:r>
          </a:p>
          <a:p>
            <a:r>
              <a:rPr lang="de-DE" sz="1100" dirty="0"/>
              <a:t>Lorem </a:t>
            </a:r>
            <a:r>
              <a:rPr lang="de-DE" sz="1100" dirty="0" err="1"/>
              <a:t>ipsum</a:t>
            </a:r>
            <a:r>
              <a:rPr lang="de-DE" sz="1100" dirty="0"/>
              <a:t> </a:t>
            </a:r>
            <a:r>
              <a:rPr lang="de-DE" sz="1100" dirty="0" err="1"/>
              <a:t>dolor</a:t>
            </a:r>
            <a:r>
              <a:rPr lang="de-DE" sz="1100" dirty="0"/>
              <a:t> </a:t>
            </a:r>
            <a:r>
              <a:rPr lang="de-DE" sz="1100" dirty="0" err="1"/>
              <a:t>sit</a:t>
            </a:r>
            <a:r>
              <a:rPr lang="de-DE" sz="1100" dirty="0"/>
              <a:t> </a:t>
            </a:r>
            <a:r>
              <a:rPr lang="de-DE" sz="1100" dirty="0" err="1"/>
              <a:t>amet</a:t>
            </a:r>
            <a:r>
              <a:rPr lang="de-DE" sz="1100" dirty="0"/>
              <a:t>, </a:t>
            </a:r>
            <a:r>
              <a:rPr lang="de-DE" sz="1100" dirty="0" err="1"/>
              <a:t>consectetuer</a:t>
            </a:r>
            <a:r>
              <a:rPr lang="de-DE" sz="1100" dirty="0"/>
              <a:t> </a:t>
            </a:r>
            <a:r>
              <a:rPr lang="de-DE" sz="1100" dirty="0" err="1"/>
              <a:t>adipiscing</a:t>
            </a:r>
            <a:r>
              <a:rPr lang="de-DE" sz="1100" dirty="0"/>
              <a:t> </a:t>
            </a:r>
            <a:r>
              <a:rPr lang="de-DE" sz="1100" dirty="0" err="1"/>
              <a:t>elit</a:t>
            </a:r>
            <a:r>
              <a:rPr lang="de-DE" sz="1100" dirty="0"/>
              <a:t>. </a:t>
            </a:r>
            <a:r>
              <a:rPr lang="de-DE" sz="1100" dirty="0" err="1"/>
              <a:t>Aenean</a:t>
            </a:r>
            <a:r>
              <a:rPr lang="de-DE" sz="1100" dirty="0"/>
              <a:t> commodo </a:t>
            </a:r>
            <a:r>
              <a:rPr lang="de-DE" sz="1100" dirty="0" err="1"/>
              <a:t>ligula</a:t>
            </a:r>
            <a:r>
              <a:rPr lang="de-DE" sz="1100" dirty="0"/>
              <a:t> </a:t>
            </a:r>
            <a:r>
              <a:rPr lang="de-DE" sz="1100" dirty="0" err="1"/>
              <a:t>eget</a:t>
            </a:r>
            <a:r>
              <a:rPr lang="de-DE" sz="1100" dirty="0"/>
              <a:t> </a:t>
            </a:r>
            <a:r>
              <a:rPr lang="de-DE" sz="1100" dirty="0" err="1"/>
              <a:t>dolor</a:t>
            </a:r>
            <a:r>
              <a:rPr lang="de-DE" sz="1100" dirty="0"/>
              <a:t>. </a:t>
            </a:r>
            <a:r>
              <a:rPr lang="de-DE" sz="1100" dirty="0" err="1"/>
              <a:t>Aenean</a:t>
            </a:r>
            <a:r>
              <a:rPr lang="de-DE" sz="1100" dirty="0"/>
              <a:t> </a:t>
            </a:r>
            <a:r>
              <a:rPr lang="de-DE" sz="1100" dirty="0" err="1"/>
              <a:t>massa</a:t>
            </a:r>
            <a:r>
              <a:rPr lang="de-DE" sz="1100" dirty="0"/>
              <a:t>.</a:t>
            </a:r>
          </a:p>
          <a:p>
            <a:r>
              <a:rPr lang="de-DE" sz="1100" dirty="0"/>
              <a:t>Cum </a:t>
            </a:r>
            <a:r>
              <a:rPr lang="de-DE" sz="1100" dirty="0" err="1"/>
              <a:t>sociis</a:t>
            </a:r>
            <a:r>
              <a:rPr lang="de-DE" sz="1100" dirty="0"/>
              <a:t> </a:t>
            </a:r>
            <a:r>
              <a:rPr lang="de-DE" sz="1100" dirty="0" err="1"/>
              <a:t>natoque</a:t>
            </a:r>
            <a:r>
              <a:rPr lang="de-DE" sz="1100" dirty="0"/>
              <a:t> </a:t>
            </a:r>
            <a:r>
              <a:rPr lang="de-DE" sz="1100" dirty="0" err="1"/>
              <a:t>penatibus</a:t>
            </a:r>
            <a:r>
              <a:rPr lang="de-DE" sz="1100" dirty="0"/>
              <a:t> et </a:t>
            </a:r>
            <a:r>
              <a:rPr lang="de-DE" sz="1100" dirty="0" err="1"/>
              <a:t>magnis</a:t>
            </a:r>
            <a:r>
              <a:rPr lang="de-DE" sz="1100" dirty="0"/>
              <a:t> </a:t>
            </a:r>
            <a:r>
              <a:rPr lang="de-DE" sz="1100" dirty="0" err="1"/>
              <a:t>dis</a:t>
            </a:r>
            <a:r>
              <a:rPr lang="de-DE" sz="1100" dirty="0"/>
              <a:t> </a:t>
            </a:r>
            <a:r>
              <a:rPr lang="de-DE" sz="1100" dirty="0" err="1"/>
              <a:t>parturient</a:t>
            </a:r>
            <a:r>
              <a:rPr lang="de-DE" sz="1100" dirty="0"/>
              <a:t> </a:t>
            </a:r>
            <a:r>
              <a:rPr lang="de-DE" sz="1100" dirty="0" err="1"/>
              <a:t>montes</a:t>
            </a:r>
            <a:r>
              <a:rPr lang="de-DE" sz="1100" dirty="0"/>
              <a:t>, </a:t>
            </a:r>
            <a:r>
              <a:rPr lang="de-DE" sz="1100" dirty="0" err="1"/>
              <a:t>nascetur</a:t>
            </a:r>
            <a:r>
              <a:rPr lang="de-DE" sz="1100" dirty="0"/>
              <a:t> </a:t>
            </a:r>
            <a:r>
              <a:rPr lang="de-DE" sz="1100" dirty="0" err="1"/>
              <a:t>ridiculus</a:t>
            </a:r>
            <a:r>
              <a:rPr lang="de-DE" sz="1100" dirty="0"/>
              <a:t> </a:t>
            </a:r>
            <a:r>
              <a:rPr lang="de-DE" sz="1100" dirty="0" err="1"/>
              <a:t>mus</a:t>
            </a:r>
            <a:r>
              <a:rPr lang="de-DE" sz="1100" dirty="0"/>
              <a:t>. </a:t>
            </a:r>
            <a:r>
              <a:rPr lang="de-DE" sz="1100" dirty="0" err="1"/>
              <a:t>Donec</a:t>
            </a:r>
            <a:r>
              <a:rPr lang="de-DE" sz="1100" dirty="0"/>
              <a:t> </a:t>
            </a:r>
            <a:r>
              <a:rPr lang="de-DE" sz="1100" dirty="0" err="1"/>
              <a:t>quam</a:t>
            </a:r>
            <a:r>
              <a:rPr lang="de-DE" sz="1100" dirty="0"/>
              <a:t> </a:t>
            </a:r>
            <a:r>
              <a:rPr lang="de-DE" sz="1100" dirty="0" err="1"/>
              <a:t>felis</a:t>
            </a:r>
            <a:r>
              <a:rPr lang="de-DE" sz="1100" dirty="0"/>
              <a:t>, </a:t>
            </a:r>
            <a:r>
              <a:rPr lang="de-DE" sz="1100" dirty="0" err="1"/>
              <a:t>ultricies</a:t>
            </a:r>
            <a:r>
              <a:rPr lang="de-DE" sz="1100" dirty="0"/>
              <a:t> </a:t>
            </a:r>
            <a:r>
              <a:rPr lang="de-DE" sz="1100" dirty="0" err="1"/>
              <a:t>nec</a:t>
            </a:r>
            <a:r>
              <a:rPr lang="de-DE" sz="1100" dirty="0"/>
              <a:t>, </a:t>
            </a:r>
            <a:r>
              <a:rPr lang="de-DE" sz="1100" dirty="0" err="1"/>
              <a:t>pellentesque</a:t>
            </a:r>
            <a:r>
              <a:rPr lang="de-DE" sz="1100" dirty="0"/>
              <a:t> </a:t>
            </a:r>
            <a:r>
              <a:rPr lang="de-DE" sz="1100" dirty="0" err="1"/>
              <a:t>eu</a:t>
            </a:r>
            <a:r>
              <a:rPr lang="de-DE" sz="1100" dirty="0"/>
              <a:t>, </a:t>
            </a:r>
            <a:r>
              <a:rPr lang="de-DE" sz="1100" dirty="0" err="1"/>
              <a:t>pretium</a:t>
            </a:r>
            <a:r>
              <a:rPr lang="de-DE" sz="1100" dirty="0"/>
              <a:t> </a:t>
            </a:r>
            <a:r>
              <a:rPr lang="de-DE" sz="1100" dirty="0" err="1"/>
              <a:t>quis</a:t>
            </a:r>
            <a:r>
              <a:rPr lang="de-DE" sz="1100" dirty="0"/>
              <a:t>, </a:t>
            </a:r>
            <a:r>
              <a:rPr lang="de-DE" sz="1100" dirty="0" err="1"/>
              <a:t>sem</a:t>
            </a:r>
            <a:r>
              <a:rPr lang="de-DE" sz="1100" dirty="0"/>
              <a:t>.</a:t>
            </a:r>
          </a:p>
          <a:p>
            <a:r>
              <a:rPr lang="de-DE" sz="1100" dirty="0" err="1"/>
              <a:t>Nulla</a:t>
            </a:r>
            <a:r>
              <a:rPr lang="de-DE" sz="1100" dirty="0"/>
              <a:t> </a:t>
            </a:r>
            <a:r>
              <a:rPr lang="de-DE" sz="1100" dirty="0" err="1"/>
              <a:t>consequat</a:t>
            </a:r>
            <a:r>
              <a:rPr lang="de-DE" sz="1100" dirty="0"/>
              <a:t> </a:t>
            </a:r>
            <a:r>
              <a:rPr lang="de-DE" sz="1100" dirty="0" err="1"/>
              <a:t>massa</a:t>
            </a:r>
            <a:r>
              <a:rPr lang="de-DE" sz="1100" dirty="0"/>
              <a:t> </a:t>
            </a:r>
            <a:r>
              <a:rPr lang="de-DE" sz="1100" dirty="0" err="1"/>
              <a:t>quis</a:t>
            </a:r>
            <a:r>
              <a:rPr lang="de-DE" sz="1100" dirty="0"/>
              <a:t> </a:t>
            </a:r>
            <a:r>
              <a:rPr lang="de-DE" sz="1100" dirty="0" err="1"/>
              <a:t>enim</a:t>
            </a:r>
            <a:r>
              <a:rPr lang="de-DE" sz="1100" dirty="0"/>
              <a:t>. </a:t>
            </a:r>
            <a:r>
              <a:rPr lang="de-DE" sz="1100" dirty="0" err="1"/>
              <a:t>Donec</a:t>
            </a:r>
            <a:r>
              <a:rPr lang="de-DE" sz="1100" dirty="0"/>
              <a:t> </a:t>
            </a:r>
            <a:r>
              <a:rPr lang="de-DE" sz="1100" dirty="0" err="1"/>
              <a:t>pede</a:t>
            </a:r>
            <a:r>
              <a:rPr lang="de-DE" sz="1100" dirty="0"/>
              <a:t> </a:t>
            </a:r>
            <a:r>
              <a:rPr lang="de-DE" sz="1100" dirty="0" err="1"/>
              <a:t>justo</a:t>
            </a:r>
            <a:r>
              <a:rPr lang="de-DE" sz="1100" dirty="0"/>
              <a:t>, </a:t>
            </a:r>
            <a:r>
              <a:rPr lang="de-DE" sz="1100" dirty="0" err="1"/>
              <a:t>fringilla</a:t>
            </a:r>
            <a:r>
              <a:rPr lang="de-DE" sz="1100" dirty="0"/>
              <a:t> </a:t>
            </a:r>
            <a:r>
              <a:rPr lang="de-DE" sz="1100" dirty="0" err="1"/>
              <a:t>vel</a:t>
            </a:r>
            <a:r>
              <a:rPr lang="de-DE" sz="1100" dirty="0"/>
              <a:t>, </a:t>
            </a:r>
            <a:r>
              <a:rPr lang="de-DE" sz="1100" dirty="0" err="1"/>
              <a:t>aliquet</a:t>
            </a:r>
            <a:r>
              <a:rPr lang="de-DE" sz="1100" dirty="0"/>
              <a:t> </a:t>
            </a:r>
            <a:r>
              <a:rPr lang="de-DE" sz="1100" dirty="0" err="1"/>
              <a:t>nec</a:t>
            </a:r>
            <a:r>
              <a:rPr lang="de-DE" sz="1100" dirty="0"/>
              <a:t>, </a:t>
            </a:r>
            <a:r>
              <a:rPr lang="de-DE" sz="1100" dirty="0" err="1"/>
              <a:t>vulputate</a:t>
            </a:r>
            <a:r>
              <a:rPr lang="de-DE" sz="1100" dirty="0"/>
              <a:t> </a:t>
            </a:r>
            <a:r>
              <a:rPr lang="de-DE" sz="1100" dirty="0" err="1"/>
              <a:t>eget</a:t>
            </a:r>
            <a:r>
              <a:rPr lang="de-DE" sz="1100" dirty="0"/>
              <a:t>, </a:t>
            </a:r>
            <a:r>
              <a:rPr lang="de-DE" sz="1100" dirty="0" err="1"/>
              <a:t>arcu</a:t>
            </a:r>
            <a:r>
              <a:rPr lang="de-DE" sz="1100" dirty="0"/>
              <a:t>. In </a:t>
            </a:r>
            <a:r>
              <a:rPr lang="de-DE" sz="1100" dirty="0" err="1"/>
              <a:t>enim</a:t>
            </a:r>
            <a:r>
              <a:rPr lang="de-DE" sz="1100" dirty="0"/>
              <a:t> </a:t>
            </a:r>
            <a:r>
              <a:rPr lang="de-DE" sz="1100" dirty="0" err="1"/>
              <a:t>justo</a:t>
            </a:r>
            <a:r>
              <a:rPr lang="de-DE" sz="1100" dirty="0"/>
              <a:t>, </a:t>
            </a:r>
            <a:r>
              <a:rPr lang="de-DE" sz="1100" dirty="0" err="1"/>
              <a:t>rhoncus</a:t>
            </a:r>
            <a:r>
              <a:rPr lang="de-DE" sz="1100" dirty="0"/>
              <a:t> </a:t>
            </a:r>
            <a:r>
              <a:rPr lang="de-DE" sz="1100" dirty="0" err="1"/>
              <a:t>ut</a:t>
            </a:r>
            <a:r>
              <a:rPr lang="de-DE" sz="1100" dirty="0"/>
              <a:t>, </a:t>
            </a:r>
            <a:r>
              <a:rPr lang="de-DE" sz="1100" dirty="0" err="1"/>
              <a:t>imperdiet</a:t>
            </a:r>
            <a:r>
              <a:rPr lang="de-DE" sz="1100" dirty="0"/>
              <a:t> a, </a:t>
            </a:r>
            <a:r>
              <a:rPr lang="de-DE" sz="1100" dirty="0" err="1"/>
              <a:t>venenatis</a:t>
            </a:r>
            <a:r>
              <a:rPr lang="de-DE" sz="1100" dirty="0"/>
              <a:t> </a:t>
            </a:r>
            <a:r>
              <a:rPr lang="de-DE" sz="1100" dirty="0" err="1"/>
              <a:t>vitae</a:t>
            </a:r>
            <a:r>
              <a:rPr lang="de-DE" sz="1100" dirty="0"/>
              <a:t>, </a:t>
            </a:r>
            <a:r>
              <a:rPr lang="de-DE" sz="1100" dirty="0" err="1"/>
              <a:t>justo</a:t>
            </a:r>
            <a:r>
              <a:rPr lang="de-DE" sz="1100" dirty="0"/>
              <a:t>. </a:t>
            </a:r>
            <a:r>
              <a:rPr lang="de-DE" sz="1100" dirty="0" err="1"/>
              <a:t>Nullam</a:t>
            </a:r>
            <a:r>
              <a:rPr lang="de-DE" sz="1100" dirty="0"/>
              <a:t> </a:t>
            </a:r>
            <a:r>
              <a:rPr lang="de-DE" sz="1100" dirty="0" err="1"/>
              <a:t>dictum</a:t>
            </a:r>
            <a:r>
              <a:rPr lang="de-DE" sz="1100" dirty="0"/>
              <a:t> </a:t>
            </a:r>
            <a:r>
              <a:rPr lang="de-DE" sz="1100" dirty="0" err="1"/>
              <a:t>felis</a:t>
            </a:r>
            <a:r>
              <a:rPr lang="de-DE" sz="1100" dirty="0"/>
              <a:t> </a:t>
            </a:r>
            <a:r>
              <a:rPr lang="de-DE" sz="1100" dirty="0" err="1"/>
              <a:t>eu</a:t>
            </a:r>
            <a:r>
              <a:rPr lang="de-DE" sz="1100" dirty="0"/>
              <a:t> </a:t>
            </a:r>
            <a:r>
              <a:rPr lang="de-DE" sz="1100" dirty="0" err="1"/>
              <a:t>pede</a:t>
            </a:r>
            <a:r>
              <a:rPr lang="de-DE" sz="1100" dirty="0"/>
              <a:t> </a:t>
            </a:r>
            <a:r>
              <a:rPr lang="de-DE" sz="1100" dirty="0" err="1"/>
              <a:t>mollis</a:t>
            </a:r>
            <a:r>
              <a:rPr lang="de-DE" sz="1100" dirty="0"/>
              <a:t> </a:t>
            </a:r>
            <a:r>
              <a:rPr lang="de-DE" sz="1100" dirty="0" err="1"/>
              <a:t>pretium</a:t>
            </a:r>
            <a:r>
              <a:rPr lang="de-DE" sz="1100" dirty="0"/>
              <a:t>. Integer </a:t>
            </a:r>
          </a:p>
        </p:txBody>
      </p:sp>
      <p:grpSp>
        <p:nvGrpSpPr>
          <p:cNvPr id="24" name="Gruppieren 23"/>
          <p:cNvGrpSpPr/>
          <p:nvPr/>
        </p:nvGrpSpPr>
        <p:grpSpPr>
          <a:xfrm>
            <a:off x="7648649" y="2487858"/>
            <a:ext cx="2276610" cy="3457580"/>
            <a:chOff x="6203950" y="2228525"/>
            <a:chExt cx="2815968" cy="4276725"/>
          </a:xfrm>
        </p:grpSpPr>
        <p:sp>
          <p:nvSpPr>
            <p:cNvPr id="25" name="AutoShap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6846889" y="3482649"/>
              <a:ext cx="2157155" cy="49053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26" name="AutoShape 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846889" y="4122412"/>
              <a:ext cx="2157155" cy="49053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27" name="AutoShape 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846889" y="4762175"/>
              <a:ext cx="2157155" cy="49053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28" name="Oval 10"/>
            <p:cNvSpPr>
              <a:spLocks noChangeAspect="1" noChangeArrowheads="1"/>
            </p:cNvSpPr>
            <p:nvPr/>
          </p:nvSpPr>
          <p:spPr bwMode="auto">
            <a:xfrm>
              <a:off x="6203950" y="3482650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sp>
          <p:nvSpPr>
            <p:cNvPr id="29" name="Oval 11"/>
            <p:cNvSpPr>
              <a:spLocks noChangeAspect="1" noChangeArrowheads="1"/>
            </p:cNvSpPr>
            <p:nvPr/>
          </p:nvSpPr>
          <p:spPr bwMode="auto">
            <a:xfrm>
              <a:off x="6203950" y="4122412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sp>
          <p:nvSpPr>
            <p:cNvPr id="30" name="Oval 12"/>
            <p:cNvSpPr>
              <a:spLocks noChangeAspect="1" noChangeArrowheads="1"/>
            </p:cNvSpPr>
            <p:nvPr/>
          </p:nvSpPr>
          <p:spPr bwMode="auto">
            <a:xfrm>
              <a:off x="6203950" y="4762175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grpSp>
          <p:nvGrpSpPr>
            <p:cNvPr id="31" name="Group 22"/>
            <p:cNvGrpSpPr>
              <a:grpSpLocks/>
            </p:cNvGrpSpPr>
            <p:nvPr/>
          </p:nvGrpSpPr>
          <p:grpSpPr bwMode="auto">
            <a:xfrm>
              <a:off x="6357938" y="4916162"/>
              <a:ext cx="180975" cy="180975"/>
              <a:chOff x="230" y="3138"/>
              <a:chExt cx="144" cy="144"/>
            </a:xfrm>
          </p:grpSpPr>
          <p:sp>
            <p:nvSpPr>
              <p:cNvPr id="77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78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grpSp>
          <p:nvGrpSpPr>
            <p:cNvPr id="32" name="Group 25"/>
            <p:cNvGrpSpPr>
              <a:grpSpLocks/>
            </p:cNvGrpSpPr>
            <p:nvPr/>
          </p:nvGrpSpPr>
          <p:grpSpPr bwMode="auto">
            <a:xfrm>
              <a:off x="6357938" y="4276400"/>
              <a:ext cx="180975" cy="180975"/>
              <a:chOff x="230" y="3138"/>
              <a:chExt cx="144" cy="144"/>
            </a:xfrm>
          </p:grpSpPr>
          <p:sp>
            <p:nvSpPr>
              <p:cNvPr id="75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76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grpSp>
          <p:nvGrpSpPr>
            <p:cNvPr id="33" name="Group 28"/>
            <p:cNvGrpSpPr>
              <a:grpSpLocks/>
            </p:cNvGrpSpPr>
            <p:nvPr/>
          </p:nvGrpSpPr>
          <p:grpSpPr bwMode="auto">
            <a:xfrm>
              <a:off x="6357938" y="3636637"/>
              <a:ext cx="180975" cy="180975"/>
              <a:chOff x="230" y="3138"/>
              <a:chExt cx="144" cy="144"/>
            </a:xfrm>
          </p:grpSpPr>
          <p:sp>
            <p:nvSpPr>
              <p:cNvPr id="73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74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sp>
          <p:nvSpPr>
            <p:cNvPr id="34" name="AutoShape 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6846889" y="2871462"/>
              <a:ext cx="2157155" cy="49053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35" name="Oval 10"/>
            <p:cNvSpPr>
              <a:spLocks noChangeAspect="1" noChangeArrowheads="1"/>
            </p:cNvSpPr>
            <p:nvPr/>
          </p:nvSpPr>
          <p:spPr bwMode="auto">
            <a:xfrm>
              <a:off x="6203950" y="2871462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grpSp>
          <p:nvGrpSpPr>
            <p:cNvPr id="36" name="Group 28"/>
            <p:cNvGrpSpPr>
              <a:grpSpLocks/>
            </p:cNvGrpSpPr>
            <p:nvPr/>
          </p:nvGrpSpPr>
          <p:grpSpPr bwMode="auto">
            <a:xfrm>
              <a:off x="6357938" y="3025450"/>
              <a:ext cx="180975" cy="180975"/>
              <a:chOff x="230" y="3138"/>
              <a:chExt cx="144" cy="144"/>
            </a:xfrm>
          </p:grpSpPr>
          <p:sp>
            <p:nvSpPr>
              <p:cNvPr id="52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53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sp>
          <p:nvSpPr>
            <p:cNvPr id="37" name="AutoShape 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862763" y="5395587"/>
              <a:ext cx="2157155" cy="49053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38" name="Oval 12"/>
            <p:cNvSpPr>
              <a:spLocks noChangeAspect="1" noChangeArrowheads="1"/>
            </p:cNvSpPr>
            <p:nvPr/>
          </p:nvSpPr>
          <p:spPr bwMode="auto">
            <a:xfrm>
              <a:off x="6219825" y="5395587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grpSp>
          <p:nvGrpSpPr>
            <p:cNvPr id="39" name="Group 22"/>
            <p:cNvGrpSpPr>
              <a:grpSpLocks/>
            </p:cNvGrpSpPr>
            <p:nvPr/>
          </p:nvGrpSpPr>
          <p:grpSpPr bwMode="auto">
            <a:xfrm>
              <a:off x="6373813" y="5549575"/>
              <a:ext cx="180975" cy="180975"/>
              <a:chOff x="230" y="3138"/>
              <a:chExt cx="144" cy="144"/>
            </a:xfrm>
          </p:grpSpPr>
          <p:sp>
            <p:nvSpPr>
              <p:cNvPr id="50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51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sp>
          <p:nvSpPr>
            <p:cNvPr id="40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858000" y="6014711"/>
              <a:ext cx="2157156" cy="49053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41" name="Oval 12"/>
            <p:cNvSpPr>
              <a:spLocks noChangeAspect="1" noChangeArrowheads="1"/>
            </p:cNvSpPr>
            <p:nvPr/>
          </p:nvSpPr>
          <p:spPr bwMode="auto">
            <a:xfrm>
              <a:off x="6215063" y="6014712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grpSp>
          <p:nvGrpSpPr>
            <p:cNvPr id="42" name="Group 22"/>
            <p:cNvGrpSpPr>
              <a:grpSpLocks/>
            </p:cNvGrpSpPr>
            <p:nvPr/>
          </p:nvGrpSpPr>
          <p:grpSpPr bwMode="auto">
            <a:xfrm>
              <a:off x="6369050" y="6168700"/>
              <a:ext cx="180975" cy="180975"/>
              <a:chOff x="230" y="3138"/>
              <a:chExt cx="144" cy="144"/>
            </a:xfrm>
          </p:grpSpPr>
          <p:sp>
            <p:nvSpPr>
              <p:cNvPr id="48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49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  <p:sp>
          <p:nvSpPr>
            <p:cNvPr id="43" name="AutoShape 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858000" y="2228525"/>
              <a:ext cx="2157156" cy="49053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72000" bIns="7200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de-DE" sz="1100" b="1" dirty="0"/>
                <a:t>Text</a:t>
              </a:r>
              <a:endParaRPr lang="de-DE" altLang="de-DE" sz="1100" b="1" dirty="0">
                <a:latin typeface="+mn-lt"/>
                <a:ea typeface="MS PGothic" panose="020B0600070205080204" pitchFamily="34" charset="-128"/>
              </a:endParaRPr>
            </a:p>
          </p:txBody>
        </p:sp>
        <p:sp>
          <p:nvSpPr>
            <p:cNvPr id="44" name="Oval 10"/>
            <p:cNvSpPr>
              <a:spLocks noChangeAspect="1" noChangeArrowheads="1"/>
            </p:cNvSpPr>
            <p:nvPr/>
          </p:nvSpPr>
          <p:spPr bwMode="auto">
            <a:xfrm>
              <a:off x="6215063" y="2228525"/>
              <a:ext cx="488950" cy="4889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dist="12700" algn="ctr" rotWithShape="0">
                <a:schemeClr val="bg1"/>
              </a:outerShdw>
            </a:effectLst>
            <a:extLst>
              <a:ext uri="{91240B29-F687-4f45-9708-019B960494DF}"/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de-DE" sz="1100" b="1"/>
            </a:p>
          </p:txBody>
        </p:sp>
        <p:grpSp>
          <p:nvGrpSpPr>
            <p:cNvPr id="45" name="Group 28"/>
            <p:cNvGrpSpPr>
              <a:grpSpLocks/>
            </p:cNvGrpSpPr>
            <p:nvPr/>
          </p:nvGrpSpPr>
          <p:grpSpPr bwMode="auto">
            <a:xfrm>
              <a:off x="6369050" y="2382512"/>
              <a:ext cx="180975" cy="180975"/>
              <a:chOff x="230" y="3138"/>
              <a:chExt cx="144" cy="144"/>
            </a:xfrm>
          </p:grpSpPr>
          <p:sp>
            <p:nvSpPr>
              <p:cNvPr id="46" name="AutoShape 35"/>
              <p:cNvSpPr>
                <a:spLocks noChangeArrowheads="1"/>
              </p:cNvSpPr>
              <p:nvPr/>
            </p:nvSpPr>
            <p:spPr bwMode="gray">
              <a:xfrm>
                <a:off x="230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  <p:sp>
            <p:nvSpPr>
              <p:cNvPr id="47" name="AutoShape 35"/>
              <p:cNvSpPr>
                <a:spLocks noChangeArrowheads="1"/>
              </p:cNvSpPr>
              <p:nvPr/>
            </p:nvSpPr>
            <p:spPr bwMode="gray">
              <a:xfrm>
                <a:off x="294" y="3138"/>
                <a:ext cx="80" cy="144"/>
              </a:xfrm>
              <a:prstGeom prst="chevron">
                <a:avLst>
                  <a:gd name="adj" fmla="val 45833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de-DE" altLang="de-DE" sz="1100" b="1"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87540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3999" y="2340005"/>
            <a:ext cx="7668000" cy="538609"/>
          </a:xfrm>
        </p:spPr>
        <p:txBody>
          <a:bodyPr/>
          <a:lstStyle/>
          <a:p>
            <a:r>
              <a:rPr lang="de-DE" dirty="0" smtClean="0"/>
              <a:t>Organigramme erstellt man über das </a:t>
            </a:r>
            <a:r>
              <a:rPr lang="de-DE" dirty="0"/>
              <a:t>M</a:t>
            </a:r>
            <a:r>
              <a:rPr lang="de-DE" dirty="0" smtClean="0"/>
              <a:t>enü „Einfügen“ &gt; „SmartArt“ &gt; „Hierarchie“</a:t>
            </a:r>
          </a:p>
          <a:p>
            <a:r>
              <a:rPr lang="de-DE" dirty="0" smtClean="0"/>
              <a:t>Über das Menü „Entwurf“ und „Form formatieren“ können Sie die Elemente anpassen</a:t>
            </a:r>
            <a:endParaRPr lang="de-DE" dirty="0"/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3174530887"/>
              </p:ext>
            </p:extLst>
          </p:nvPr>
        </p:nvGraphicFramePr>
        <p:xfrm>
          <a:off x="2351584" y="3329059"/>
          <a:ext cx="7687734" cy="2019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9910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4004" y="2340000"/>
            <a:ext cx="3924009" cy="230832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279454977"/>
              </p:ext>
            </p:extLst>
          </p:nvPr>
        </p:nvGraphicFramePr>
        <p:xfrm>
          <a:off x="4971139" y="2542329"/>
          <a:ext cx="4940865" cy="33799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2156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43211734"/>
              </p:ext>
            </p:extLst>
          </p:nvPr>
        </p:nvGraphicFramePr>
        <p:xfrm>
          <a:off x="2246085" y="3212976"/>
          <a:ext cx="7665919" cy="1124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Gruppieren 8"/>
          <p:cNvGrpSpPr/>
          <p:nvPr/>
        </p:nvGrpSpPr>
        <p:grpSpPr>
          <a:xfrm>
            <a:off x="7896200" y="4005064"/>
            <a:ext cx="108012" cy="470272"/>
            <a:chOff x="5310082" y="4005064"/>
            <a:chExt cx="108012" cy="470272"/>
          </a:xfrm>
        </p:grpSpPr>
        <p:cxnSp>
          <p:nvCxnSpPr>
            <p:cNvPr id="76" name="Gerade Verbindung 71"/>
            <p:cNvCxnSpPr/>
            <p:nvPr/>
          </p:nvCxnSpPr>
          <p:spPr>
            <a:xfrm>
              <a:off x="5365025" y="4005064"/>
              <a:ext cx="0" cy="398638"/>
            </a:xfrm>
            <a:prstGeom prst="line">
              <a:avLst/>
            </a:prstGeom>
            <a:ln w="25400">
              <a:solidFill>
                <a:srgbClr val="232D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Ellipse 77"/>
            <p:cNvSpPr/>
            <p:nvPr/>
          </p:nvSpPr>
          <p:spPr>
            <a:xfrm>
              <a:off x="5310082" y="436732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232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6564990" y="4005064"/>
            <a:ext cx="108012" cy="1548062"/>
            <a:chOff x="4445986" y="4005064"/>
            <a:chExt cx="108012" cy="1548062"/>
          </a:xfrm>
        </p:grpSpPr>
        <p:cxnSp>
          <p:nvCxnSpPr>
            <p:cNvPr id="75" name="Gerade Verbindung 66"/>
            <p:cNvCxnSpPr>
              <a:endCxn id="79" idx="0"/>
            </p:cNvCxnSpPr>
            <p:nvPr/>
          </p:nvCxnSpPr>
          <p:spPr>
            <a:xfrm flipH="1">
              <a:off x="4499992" y="4005064"/>
              <a:ext cx="2314" cy="1440050"/>
            </a:xfrm>
            <a:prstGeom prst="line">
              <a:avLst/>
            </a:prstGeom>
            <a:ln w="25400">
              <a:solidFill>
                <a:srgbClr val="232D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Ellipse 78"/>
            <p:cNvSpPr/>
            <p:nvPr/>
          </p:nvSpPr>
          <p:spPr>
            <a:xfrm>
              <a:off x="4445986" y="544511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232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5392985" y="4005064"/>
            <a:ext cx="108012" cy="470272"/>
            <a:chOff x="3005826" y="4005064"/>
            <a:chExt cx="108012" cy="470272"/>
          </a:xfrm>
        </p:grpSpPr>
        <p:cxnSp>
          <p:nvCxnSpPr>
            <p:cNvPr id="74" name="Gerade Verbindung 64"/>
            <p:cNvCxnSpPr/>
            <p:nvPr/>
          </p:nvCxnSpPr>
          <p:spPr>
            <a:xfrm>
              <a:off x="3063423" y="4005064"/>
              <a:ext cx="0" cy="398638"/>
            </a:xfrm>
            <a:prstGeom prst="line">
              <a:avLst/>
            </a:prstGeom>
            <a:ln w="25400">
              <a:solidFill>
                <a:srgbClr val="232D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Ellipse 79"/>
            <p:cNvSpPr/>
            <p:nvPr/>
          </p:nvSpPr>
          <p:spPr>
            <a:xfrm>
              <a:off x="3005826" y="436732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232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2843544" y="4005064"/>
            <a:ext cx="108012" cy="470272"/>
            <a:chOff x="1421650" y="4005064"/>
            <a:chExt cx="108012" cy="470272"/>
          </a:xfrm>
        </p:grpSpPr>
        <p:cxnSp>
          <p:nvCxnSpPr>
            <p:cNvPr id="77" name="Gerade Verbindung 75"/>
            <p:cNvCxnSpPr/>
            <p:nvPr/>
          </p:nvCxnSpPr>
          <p:spPr>
            <a:xfrm>
              <a:off x="1475656" y="4005064"/>
              <a:ext cx="0" cy="398638"/>
            </a:xfrm>
            <a:prstGeom prst="line">
              <a:avLst/>
            </a:prstGeom>
            <a:ln w="25400">
              <a:solidFill>
                <a:srgbClr val="232D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Ellipse 80"/>
            <p:cNvSpPr/>
            <p:nvPr/>
          </p:nvSpPr>
          <p:spPr>
            <a:xfrm>
              <a:off x="1421650" y="436732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232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9120336" y="4005064"/>
            <a:ext cx="108012" cy="1548062"/>
            <a:chOff x="6775614" y="4005064"/>
            <a:chExt cx="108012" cy="1548062"/>
          </a:xfrm>
        </p:grpSpPr>
        <p:cxnSp>
          <p:nvCxnSpPr>
            <p:cNvPr id="82" name="Gerade Verbindung 85"/>
            <p:cNvCxnSpPr>
              <a:endCxn id="83" idx="0"/>
            </p:cNvCxnSpPr>
            <p:nvPr/>
          </p:nvCxnSpPr>
          <p:spPr>
            <a:xfrm flipH="1">
              <a:off x="6829620" y="4005064"/>
              <a:ext cx="2314" cy="1440050"/>
            </a:xfrm>
            <a:prstGeom prst="line">
              <a:avLst/>
            </a:prstGeom>
            <a:ln w="25400">
              <a:solidFill>
                <a:srgbClr val="A61F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Ellipse 82"/>
            <p:cNvSpPr/>
            <p:nvPr/>
          </p:nvSpPr>
          <p:spPr>
            <a:xfrm>
              <a:off x="6775614" y="544511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A61F7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4140519" y="4005064"/>
            <a:ext cx="108012" cy="1548062"/>
            <a:chOff x="1997714" y="4005064"/>
            <a:chExt cx="108012" cy="1548062"/>
          </a:xfrm>
        </p:grpSpPr>
        <p:cxnSp>
          <p:nvCxnSpPr>
            <p:cNvPr id="84" name="Gerade Verbindung 87"/>
            <p:cNvCxnSpPr>
              <a:endCxn id="85" idx="0"/>
            </p:cNvCxnSpPr>
            <p:nvPr/>
          </p:nvCxnSpPr>
          <p:spPr>
            <a:xfrm flipH="1">
              <a:off x="2051720" y="4005064"/>
              <a:ext cx="2314" cy="1440050"/>
            </a:xfrm>
            <a:prstGeom prst="line">
              <a:avLst/>
            </a:prstGeom>
            <a:ln w="25400">
              <a:solidFill>
                <a:srgbClr val="232D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Ellipse 84"/>
            <p:cNvSpPr/>
            <p:nvPr/>
          </p:nvSpPr>
          <p:spPr>
            <a:xfrm>
              <a:off x="1997714" y="5445114"/>
              <a:ext cx="108012" cy="10801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232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86" name="Titel 1"/>
          <p:cNvSpPr txBox="1">
            <a:spLocks/>
          </p:cNvSpPr>
          <p:nvPr/>
        </p:nvSpPr>
        <p:spPr>
          <a:xfrm>
            <a:off x="2476438" y="4567524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92" name="Titel 1"/>
          <p:cNvSpPr txBox="1">
            <a:spLocks/>
          </p:cNvSpPr>
          <p:nvPr/>
        </p:nvSpPr>
        <p:spPr>
          <a:xfrm>
            <a:off x="3645603" y="5661248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93" name="Titel 1"/>
          <p:cNvSpPr txBox="1">
            <a:spLocks/>
          </p:cNvSpPr>
          <p:nvPr/>
        </p:nvSpPr>
        <p:spPr>
          <a:xfrm>
            <a:off x="4898595" y="4614506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94" name="Titel 1"/>
          <p:cNvSpPr txBox="1">
            <a:spLocks/>
          </p:cNvSpPr>
          <p:nvPr/>
        </p:nvSpPr>
        <p:spPr>
          <a:xfrm>
            <a:off x="6097894" y="5661248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95" name="Titel 1"/>
          <p:cNvSpPr txBox="1">
            <a:spLocks/>
          </p:cNvSpPr>
          <p:nvPr/>
        </p:nvSpPr>
        <p:spPr>
          <a:xfrm>
            <a:off x="7401284" y="4579905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96" name="Titel 1"/>
          <p:cNvSpPr txBox="1">
            <a:spLocks/>
          </p:cNvSpPr>
          <p:nvPr/>
        </p:nvSpPr>
        <p:spPr>
          <a:xfrm>
            <a:off x="8625420" y="5661248"/>
            <a:ext cx="10978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175" lvl="2" algn="ctr">
              <a:spcAft>
                <a:spcPts val="600"/>
              </a:spcAft>
              <a:buClr>
                <a:srgbClr val="A61F7D"/>
              </a:buClr>
            </a:pPr>
            <a:r>
              <a:rPr lang="de-DE" sz="1200" dirty="0">
                <a:latin typeface="ARIALkörper)"/>
                <a:cs typeface="Arial" pitchFamily="34" charset="0"/>
              </a:rPr>
              <a:t>Text</a:t>
            </a:r>
            <a:endParaRPr lang="de-DE" sz="1200" b="1" dirty="0">
              <a:latin typeface="ARIALkörper)"/>
              <a:cs typeface="Arial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2243999" y="2340001"/>
            <a:ext cx="7668000" cy="230832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35568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>
          <a:xfrm>
            <a:off x="3025866" y="2543757"/>
            <a:ext cx="153095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 Verbindung 49"/>
          <p:cNvCxnSpPr/>
          <p:nvPr/>
        </p:nvCxnSpPr>
        <p:spPr>
          <a:xfrm flipV="1">
            <a:off x="3799502" y="2888750"/>
            <a:ext cx="0" cy="919894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7228631" y="5189413"/>
            <a:ext cx="1274688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Gerade Verbindung 54"/>
          <p:cNvCxnSpPr/>
          <p:nvPr/>
        </p:nvCxnSpPr>
        <p:spPr>
          <a:xfrm flipV="1">
            <a:off x="7882523" y="4535308"/>
            <a:ext cx="0" cy="561149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Pfeil nach rechts 41"/>
          <p:cNvSpPr/>
          <p:nvPr/>
        </p:nvSpPr>
        <p:spPr>
          <a:xfrm>
            <a:off x="1524000" y="3482067"/>
            <a:ext cx="9036496" cy="1296144"/>
          </a:xfrm>
          <a:prstGeom prst="rightArrow">
            <a:avLst>
              <a:gd name="adj1" fmla="val 73780"/>
              <a:gd name="adj2" fmla="val 5184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uppieren 42"/>
          <p:cNvGrpSpPr/>
          <p:nvPr/>
        </p:nvGrpSpPr>
        <p:grpSpPr>
          <a:xfrm>
            <a:off x="2323028" y="4005069"/>
            <a:ext cx="8021444" cy="234453"/>
            <a:chOff x="799028" y="4058643"/>
            <a:chExt cx="8021444" cy="234453"/>
          </a:xfrm>
        </p:grpSpPr>
        <p:grpSp>
          <p:nvGrpSpPr>
            <p:cNvPr id="44" name="Gruppieren 43"/>
            <p:cNvGrpSpPr/>
            <p:nvPr/>
          </p:nvGrpSpPr>
          <p:grpSpPr>
            <a:xfrm>
              <a:off x="799028" y="4062264"/>
              <a:ext cx="7174618" cy="230832"/>
              <a:chOff x="931733" y="3779167"/>
              <a:chExt cx="7174618" cy="230832"/>
            </a:xfrm>
          </p:grpSpPr>
          <p:sp>
            <p:nvSpPr>
              <p:cNvPr id="46" name="Rechteck 45"/>
              <p:cNvSpPr/>
              <p:nvPr/>
            </p:nvSpPr>
            <p:spPr>
              <a:xfrm>
                <a:off x="931733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1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Rechteck 46"/>
              <p:cNvSpPr/>
              <p:nvPr/>
            </p:nvSpPr>
            <p:spPr>
              <a:xfrm>
                <a:off x="1547616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2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Rechteck 47"/>
              <p:cNvSpPr/>
              <p:nvPr/>
            </p:nvSpPr>
            <p:spPr>
              <a:xfrm>
                <a:off x="2163499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3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hteck 48"/>
              <p:cNvSpPr/>
              <p:nvPr/>
            </p:nvSpPr>
            <p:spPr>
              <a:xfrm>
                <a:off x="2779382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4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Rechteck 49"/>
              <p:cNvSpPr/>
              <p:nvPr/>
            </p:nvSpPr>
            <p:spPr>
              <a:xfrm>
                <a:off x="3395265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5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>
              <a:xfrm>
                <a:off x="4011148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6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Rechteck 51"/>
              <p:cNvSpPr/>
              <p:nvPr/>
            </p:nvSpPr>
            <p:spPr>
              <a:xfrm>
                <a:off x="4627031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7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>
              <a:xfrm>
                <a:off x="5242914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8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Rechteck 53"/>
              <p:cNvSpPr/>
              <p:nvPr/>
            </p:nvSpPr>
            <p:spPr>
              <a:xfrm>
                <a:off x="5858797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9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>
              <a:xfrm>
                <a:off x="6474680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0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>
              <a:xfrm>
                <a:off x="7090563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1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Rechteck 56"/>
              <p:cNvSpPr/>
              <p:nvPr/>
            </p:nvSpPr>
            <p:spPr>
              <a:xfrm>
                <a:off x="7706444" y="3779167"/>
                <a:ext cx="399907" cy="23083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de-DE" sz="1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2</a:t>
                </a:r>
                <a:endParaRPr lang="de-DE" sz="15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5" name="Rechteck 44"/>
            <p:cNvSpPr/>
            <p:nvPr/>
          </p:nvSpPr>
          <p:spPr>
            <a:xfrm>
              <a:off x="8172400" y="4058643"/>
              <a:ext cx="648072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de-DE" sz="1500" b="1" dirty="0">
                  <a:solidFill>
                    <a:schemeClr val="bg2">
                      <a:lumMod val="20000"/>
                      <a:lumOff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0</a:t>
              </a:r>
              <a:endParaRPr lang="de-DE" sz="1500" dirty="0">
                <a:solidFill>
                  <a:schemeClr val="bg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uppieren 57"/>
          <p:cNvGrpSpPr/>
          <p:nvPr/>
        </p:nvGrpSpPr>
        <p:grpSpPr>
          <a:xfrm>
            <a:off x="2218884" y="3646633"/>
            <a:ext cx="7375407" cy="531048"/>
            <a:chOff x="694879" y="3646632"/>
            <a:chExt cx="7375407" cy="630203"/>
          </a:xfrm>
        </p:grpSpPr>
        <p:grpSp>
          <p:nvGrpSpPr>
            <p:cNvPr id="59" name="Gruppieren 58"/>
            <p:cNvGrpSpPr/>
            <p:nvPr/>
          </p:nvGrpSpPr>
          <p:grpSpPr>
            <a:xfrm>
              <a:off x="694879" y="3646632"/>
              <a:ext cx="6774971" cy="622520"/>
              <a:chOff x="1043608" y="3753036"/>
              <a:chExt cx="6774971" cy="360040"/>
            </a:xfrm>
          </p:grpSpPr>
          <p:cxnSp>
            <p:nvCxnSpPr>
              <p:cNvPr id="61" name="Gerade Verbindung 15"/>
              <p:cNvCxnSpPr/>
              <p:nvPr/>
            </p:nvCxnSpPr>
            <p:spPr>
              <a:xfrm>
                <a:off x="1043608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16"/>
              <p:cNvCxnSpPr/>
              <p:nvPr/>
            </p:nvCxnSpPr>
            <p:spPr>
              <a:xfrm>
                <a:off x="1659514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17"/>
              <p:cNvCxnSpPr/>
              <p:nvPr/>
            </p:nvCxnSpPr>
            <p:spPr>
              <a:xfrm>
                <a:off x="2275420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18"/>
              <p:cNvCxnSpPr/>
              <p:nvPr/>
            </p:nvCxnSpPr>
            <p:spPr>
              <a:xfrm>
                <a:off x="2891326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19"/>
              <p:cNvCxnSpPr/>
              <p:nvPr/>
            </p:nvCxnSpPr>
            <p:spPr>
              <a:xfrm>
                <a:off x="3507232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20"/>
              <p:cNvCxnSpPr/>
              <p:nvPr/>
            </p:nvCxnSpPr>
            <p:spPr>
              <a:xfrm>
                <a:off x="4123138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21"/>
              <p:cNvCxnSpPr/>
              <p:nvPr/>
            </p:nvCxnSpPr>
            <p:spPr>
              <a:xfrm>
                <a:off x="4739044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 Verbindung 22"/>
              <p:cNvCxnSpPr/>
              <p:nvPr/>
            </p:nvCxnSpPr>
            <p:spPr>
              <a:xfrm>
                <a:off x="5354950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 Verbindung 23"/>
              <p:cNvCxnSpPr/>
              <p:nvPr/>
            </p:nvCxnSpPr>
            <p:spPr>
              <a:xfrm>
                <a:off x="5970856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 Verbindung 24"/>
              <p:cNvCxnSpPr/>
              <p:nvPr/>
            </p:nvCxnSpPr>
            <p:spPr>
              <a:xfrm>
                <a:off x="6586762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25"/>
              <p:cNvCxnSpPr/>
              <p:nvPr/>
            </p:nvCxnSpPr>
            <p:spPr>
              <a:xfrm>
                <a:off x="7202668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26"/>
              <p:cNvCxnSpPr/>
              <p:nvPr/>
            </p:nvCxnSpPr>
            <p:spPr>
              <a:xfrm>
                <a:off x="7818579" y="3753036"/>
                <a:ext cx="0" cy="36004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0" name="Gerade Verbindung 65"/>
            <p:cNvCxnSpPr/>
            <p:nvPr/>
          </p:nvCxnSpPr>
          <p:spPr>
            <a:xfrm>
              <a:off x="8070286" y="3654315"/>
              <a:ext cx="0" cy="622520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Rechteck 72"/>
          <p:cNvSpPr/>
          <p:nvPr/>
        </p:nvSpPr>
        <p:spPr>
          <a:xfrm>
            <a:off x="4776776" y="2543757"/>
            <a:ext cx="153095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Gerade Verbindung 49"/>
          <p:cNvCxnSpPr/>
          <p:nvPr/>
        </p:nvCxnSpPr>
        <p:spPr>
          <a:xfrm flipV="1">
            <a:off x="5550412" y="2888750"/>
            <a:ext cx="0" cy="919894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7845325" y="2543757"/>
            <a:ext cx="153095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6" name="Gerade Verbindung 49"/>
          <p:cNvCxnSpPr/>
          <p:nvPr/>
        </p:nvCxnSpPr>
        <p:spPr>
          <a:xfrm flipV="1">
            <a:off x="8618961" y="2888750"/>
            <a:ext cx="0" cy="919894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5530361" y="5189413"/>
            <a:ext cx="1274688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8" name="Gerade Verbindung 54"/>
          <p:cNvCxnSpPr/>
          <p:nvPr/>
        </p:nvCxnSpPr>
        <p:spPr>
          <a:xfrm flipV="1">
            <a:off x="6184253" y="4535308"/>
            <a:ext cx="0" cy="561149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2524814" y="5189413"/>
            <a:ext cx="1274688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500" b="1" dirty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Gerade Verbindung 54"/>
          <p:cNvCxnSpPr/>
          <p:nvPr/>
        </p:nvCxnSpPr>
        <p:spPr>
          <a:xfrm flipV="1">
            <a:off x="3178706" y="4535308"/>
            <a:ext cx="0" cy="561149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95518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abellen</a:t>
            </a:r>
            <a:endParaRPr lang="de-DE" dirty="0"/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484909"/>
              </p:ext>
            </p:extLst>
          </p:nvPr>
        </p:nvGraphicFramePr>
        <p:xfrm>
          <a:off x="2337944" y="2420888"/>
          <a:ext cx="7488832" cy="1890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2208"/>
                <a:gridCol w="5616624"/>
              </a:tblGrid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13062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0055"/>
              </p:ext>
            </p:extLst>
          </p:nvPr>
        </p:nvGraphicFramePr>
        <p:xfrm>
          <a:off x="2279576" y="2420888"/>
          <a:ext cx="7632848" cy="144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6424"/>
                <a:gridCol w="3816424"/>
              </a:tblGrid>
              <a:tr h="19800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466176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nstiges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2063755" y="2155830"/>
            <a:ext cx="697111" cy="697111"/>
            <a:chOff x="573534" y="2155825"/>
            <a:chExt cx="697111" cy="697111"/>
          </a:xfrm>
        </p:grpSpPr>
        <p:sp>
          <p:nvSpPr>
            <p:cNvPr id="5" name="Ellipse 4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087" y="2336800"/>
              <a:ext cx="369030" cy="369030"/>
            </a:xfrm>
            <a:prstGeom prst="rect">
              <a:avLst/>
            </a:prstGeom>
          </p:spPr>
        </p:pic>
      </p:grpSp>
      <p:grpSp>
        <p:nvGrpSpPr>
          <p:cNvPr id="95" name="Gruppieren 94"/>
          <p:cNvGrpSpPr/>
          <p:nvPr/>
        </p:nvGrpSpPr>
        <p:grpSpPr>
          <a:xfrm>
            <a:off x="3703811" y="2155830"/>
            <a:ext cx="697111" cy="697111"/>
            <a:chOff x="3839266" y="2155825"/>
            <a:chExt cx="697111" cy="697111"/>
          </a:xfrm>
        </p:grpSpPr>
        <p:sp>
          <p:nvSpPr>
            <p:cNvPr id="15" name="Ellipse 14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2506" y="2311400"/>
              <a:ext cx="402896" cy="402896"/>
            </a:xfrm>
            <a:prstGeom prst="rect">
              <a:avLst/>
            </a:prstGeom>
          </p:spPr>
        </p:pic>
      </p:grpSp>
      <p:grpSp>
        <p:nvGrpSpPr>
          <p:cNvPr id="104" name="Gruppieren 103"/>
          <p:cNvGrpSpPr/>
          <p:nvPr/>
        </p:nvGrpSpPr>
        <p:grpSpPr>
          <a:xfrm>
            <a:off x="2883783" y="2155830"/>
            <a:ext cx="697111" cy="697111"/>
            <a:chOff x="1389967" y="2155825"/>
            <a:chExt cx="697111" cy="697111"/>
          </a:xfrm>
        </p:grpSpPr>
        <p:sp>
          <p:nvSpPr>
            <p:cNvPr id="27" name="Ellipse 26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6882" y="2288875"/>
              <a:ext cx="468679" cy="468679"/>
            </a:xfrm>
            <a:prstGeom prst="rect">
              <a:avLst/>
            </a:prstGeom>
          </p:spPr>
        </p:pic>
      </p:grpSp>
      <p:grpSp>
        <p:nvGrpSpPr>
          <p:cNvPr id="92" name="Gruppieren 91"/>
          <p:cNvGrpSpPr/>
          <p:nvPr/>
        </p:nvGrpSpPr>
        <p:grpSpPr>
          <a:xfrm>
            <a:off x="4523839" y="2155830"/>
            <a:ext cx="697111" cy="697111"/>
            <a:chOff x="4655699" y="2155825"/>
            <a:chExt cx="697111" cy="697111"/>
          </a:xfrm>
        </p:grpSpPr>
        <p:sp>
          <p:nvSpPr>
            <p:cNvPr id="33" name="Ellipse 32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8178" y="2288304"/>
              <a:ext cx="432154" cy="432154"/>
            </a:xfrm>
            <a:prstGeom prst="rect">
              <a:avLst/>
            </a:prstGeom>
          </p:spPr>
        </p:pic>
      </p:grpSp>
      <p:grpSp>
        <p:nvGrpSpPr>
          <p:cNvPr id="3" name="Gruppieren 2"/>
          <p:cNvGrpSpPr/>
          <p:nvPr/>
        </p:nvGrpSpPr>
        <p:grpSpPr>
          <a:xfrm>
            <a:off x="6163895" y="2155830"/>
            <a:ext cx="697111" cy="697111"/>
            <a:chOff x="573534" y="4941168"/>
            <a:chExt cx="697111" cy="697111"/>
          </a:xfrm>
        </p:grpSpPr>
        <p:sp>
          <p:nvSpPr>
            <p:cNvPr id="102" name="Ellipse 101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3" name="Grafik 10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091" y="5090015"/>
              <a:ext cx="450220" cy="450220"/>
            </a:xfrm>
            <a:prstGeom prst="rect">
              <a:avLst/>
            </a:prstGeom>
          </p:spPr>
        </p:pic>
      </p:grpSp>
      <p:grpSp>
        <p:nvGrpSpPr>
          <p:cNvPr id="11" name="Gruppieren 10"/>
          <p:cNvGrpSpPr/>
          <p:nvPr/>
        </p:nvGrpSpPr>
        <p:grpSpPr>
          <a:xfrm>
            <a:off x="6983923" y="2155830"/>
            <a:ext cx="697111" cy="697111"/>
            <a:chOff x="1389967" y="4941168"/>
            <a:chExt cx="697111" cy="697111"/>
          </a:xfrm>
        </p:grpSpPr>
        <p:sp>
          <p:nvSpPr>
            <p:cNvPr id="120" name="Ellipse 119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1" name="Grafik 12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5664" y="5086865"/>
              <a:ext cx="405718" cy="405718"/>
            </a:xfrm>
            <a:prstGeom prst="rect">
              <a:avLst/>
            </a:prstGeom>
          </p:spPr>
        </p:pic>
      </p:grpSp>
      <p:grpSp>
        <p:nvGrpSpPr>
          <p:cNvPr id="132" name="Gruppieren 131"/>
          <p:cNvGrpSpPr/>
          <p:nvPr/>
        </p:nvGrpSpPr>
        <p:grpSpPr>
          <a:xfrm>
            <a:off x="7803951" y="2155830"/>
            <a:ext cx="697111" cy="697111"/>
            <a:chOff x="5472132" y="2155825"/>
            <a:chExt cx="697111" cy="697111"/>
          </a:xfrm>
        </p:grpSpPr>
        <p:sp>
          <p:nvSpPr>
            <p:cNvPr id="133" name="Ellipse 132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4" name="Grafik 13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5057" y="2308750"/>
              <a:ext cx="391262" cy="391262"/>
            </a:xfrm>
            <a:prstGeom prst="rect">
              <a:avLst/>
            </a:prstGeom>
          </p:spPr>
        </p:pic>
      </p:grpSp>
      <p:grpSp>
        <p:nvGrpSpPr>
          <p:cNvPr id="135" name="Gruppieren 134"/>
          <p:cNvGrpSpPr/>
          <p:nvPr/>
        </p:nvGrpSpPr>
        <p:grpSpPr>
          <a:xfrm>
            <a:off x="8623979" y="2155830"/>
            <a:ext cx="697111" cy="697111"/>
            <a:chOff x="7104998" y="2155825"/>
            <a:chExt cx="697111" cy="697111"/>
          </a:xfrm>
        </p:grpSpPr>
        <p:sp>
          <p:nvSpPr>
            <p:cNvPr id="136" name="Ellipse 135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7" name="Grafik 1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1284" y="2282111"/>
              <a:ext cx="444540" cy="444540"/>
            </a:xfrm>
            <a:prstGeom prst="rect">
              <a:avLst/>
            </a:prstGeom>
          </p:spPr>
        </p:pic>
      </p:grpSp>
      <p:grpSp>
        <p:nvGrpSpPr>
          <p:cNvPr id="138" name="Gruppieren 137"/>
          <p:cNvGrpSpPr/>
          <p:nvPr/>
        </p:nvGrpSpPr>
        <p:grpSpPr>
          <a:xfrm>
            <a:off x="5343867" y="2155830"/>
            <a:ext cx="697111" cy="697111"/>
            <a:chOff x="1389967" y="2155825"/>
            <a:chExt cx="697111" cy="697111"/>
          </a:xfrm>
        </p:grpSpPr>
        <p:sp>
          <p:nvSpPr>
            <p:cNvPr id="139" name="Ellipse 138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0" name="Grafik 13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56" name="Gruppieren 155"/>
          <p:cNvGrpSpPr/>
          <p:nvPr/>
        </p:nvGrpSpPr>
        <p:grpSpPr>
          <a:xfrm>
            <a:off x="4523839" y="3058747"/>
            <a:ext cx="697111" cy="697111"/>
            <a:chOff x="4655699" y="3068960"/>
            <a:chExt cx="697111" cy="697111"/>
          </a:xfrm>
        </p:grpSpPr>
        <p:sp>
          <p:nvSpPr>
            <p:cNvPr id="157" name="Ellipse 156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8" name="Grafik 157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65" name="Gruppieren 164"/>
          <p:cNvGrpSpPr/>
          <p:nvPr/>
        </p:nvGrpSpPr>
        <p:grpSpPr>
          <a:xfrm>
            <a:off x="2063755" y="3058747"/>
            <a:ext cx="697111" cy="697111"/>
            <a:chOff x="5472132" y="2155825"/>
            <a:chExt cx="697111" cy="697111"/>
          </a:xfrm>
        </p:grpSpPr>
        <p:sp>
          <p:nvSpPr>
            <p:cNvPr id="166" name="Ellipse 165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8327" y="2292020"/>
              <a:ext cx="424722" cy="424722"/>
            </a:xfrm>
            <a:prstGeom prst="rect">
              <a:avLst/>
            </a:prstGeom>
          </p:spPr>
        </p:pic>
      </p:grpSp>
      <p:grpSp>
        <p:nvGrpSpPr>
          <p:cNvPr id="168" name="Gruppieren 167"/>
          <p:cNvGrpSpPr/>
          <p:nvPr/>
        </p:nvGrpSpPr>
        <p:grpSpPr>
          <a:xfrm>
            <a:off x="2883783" y="3058747"/>
            <a:ext cx="697111" cy="697111"/>
            <a:chOff x="6288565" y="2155825"/>
            <a:chExt cx="697111" cy="697111"/>
          </a:xfrm>
        </p:grpSpPr>
        <p:sp>
          <p:nvSpPr>
            <p:cNvPr id="169" name="Ellipse 168"/>
            <p:cNvSpPr/>
            <p:nvPr/>
          </p:nvSpPr>
          <p:spPr>
            <a:xfrm>
              <a:off x="6288565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0" name="Grafik 169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71" name="Gruppieren 170"/>
          <p:cNvGrpSpPr/>
          <p:nvPr/>
        </p:nvGrpSpPr>
        <p:grpSpPr>
          <a:xfrm>
            <a:off x="3703811" y="3058747"/>
            <a:ext cx="697111" cy="697111"/>
            <a:chOff x="5472132" y="3068960"/>
            <a:chExt cx="697111" cy="697111"/>
          </a:xfrm>
        </p:grpSpPr>
        <p:sp>
          <p:nvSpPr>
            <p:cNvPr id="172" name="Ellipse 171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3" name="Grafik 172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2783" y="3219611"/>
              <a:ext cx="395810" cy="395810"/>
            </a:xfrm>
            <a:prstGeom prst="rect">
              <a:avLst/>
            </a:prstGeom>
          </p:spPr>
        </p:pic>
      </p:grpSp>
      <p:grpSp>
        <p:nvGrpSpPr>
          <p:cNvPr id="177" name="Gruppieren 176"/>
          <p:cNvGrpSpPr/>
          <p:nvPr/>
        </p:nvGrpSpPr>
        <p:grpSpPr>
          <a:xfrm>
            <a:off x="6163895" y="3058747"/>
            <a:ext cx="697111" cy="697111"/>
            <a:chOff x="7104998" y="3068960"/>
            <a:chExt cx="697111" cy="697111"/>
          </a:xfrm>
        </p:grpSpPr>
        <p:sp>
          <p:nvSpPr>
            <p:cNvPr id="178" name="Ellipse 177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9" name="Grafik 178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0400" y="3224362"/>
              <a:ext cx="386308" cy="386308"/>
            </a:xfrm>
            <a:prstGeom prst="rect">
              <a:avLst/>
            </a:prstGeom>
          </p:spPr>
        </p:pic>
      </p:grpSp>
      <p:grpSp>
        <p:nvGrpSpPr>
          <p:cNvPr id="180" name="Gruppieren 179"/>
          <p:cNvGrpSpPr/>
          <p:nvPr/>
        </p:nvGrpSpPr>
        <p:grpSpPr>
          <a:xfrm>
            <a:off x="6983923" y="3058747"/>
            <a:ext cx="697111" cy="697111"/>
            <a:chOff x="7921427" y="3068960"/>
            <a:chExt cx="697111" cy="697111"/>
          </a:xfrm>
        </p:grpSpPr>
        <p:sp>
          <p:nvSpPr>
            <p:cNvPr id="181" name="Ellipse 180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2" name="Grafik 181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7124" y="3214657"/>
              <a:ext cx="405718" cy="405718"/>
            </a:xfrm>
            <a:prstGeom prst="rect">
              <a:avLst/>
            </a:prstGeom>
          </p:spPr>
        </p:pic>
      </p:grpSp>
      <p:grpSp>
        <p:nvGrpSpPr>
          <p:cNvPr id="183" name="Gruppieren 182"/>
          <p:cNvGrpSpPr/>
          <p:nvPr/>
        </p:nvGrpSpPr>
        <p:grpSpPr>
          <a:xfrm>
            <a:off x="7803951" y="3058747"/>
            <a:ext cx="697111" cy="697111"/>
            <a:chOff x="573534" y="4005064"/>
            <a:chExt cx="697111" cy="697111"/>
          </a:xfrm>
        </p:grpSpPr>
        <p:sp>
          <p:nvSpPr>
            <p:cNvPr id="184" name="Ellipse 183"/>
            <p:cNvSpPr/>
            <p:nvPr/>
          </p:nvSpPr>
          <p:spPr>
            <a:xfrm>
              <a:off x="573534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5" name="Grafik 184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50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86" name="Gruppieren 185"/>
          <p:cNvGrpSpPr/>
          <p:nvPr/>
        </p:nvGrpSpPr>
        <p:grpSpPr>
          <a:xfrm>
            <a:off x="9444005" y="3058747"/>
            <a:ext cx="697111" cy="697111"/>
            <a:chOff x="2206400" y="4005064"/>
            <a:chExt cx="697111" cy="697111"/>
          </a:xfrm>
        </p:grpSpPr>
        <p:sp>
          <p:nvSpPr>
            <p:cNvPr id="187" name="Ellipse 186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8" name="Grafik 187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8716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198" name="Gruppieren 197"/>
          <p:cNvGrpSpPr/>
          <p:nvPr/>
        </p:nvGrpSpPr>
        <p:grpSpPr>
          <a:xfrm>
            <a:off x="8623979" y="3058747"/>
            <a:ext cx="697111" cy="697111"/>
            <a:chOff x="1389967" y="4005064"/>
            <a:chExt cx="697111" cy="697111"/>
          </a:xfrm>
        </p:grpSpPr>
        <p:sp>
          <p:nvSpPr>
            <p:cNvPr id="199" name="Ellipse 198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0" name="Grafik 199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0092" y="4155189"/>
              <a:ext cx="396862" cy="396862"/>
            </a:xfrm>
            <a:prstGeom prst="rect">
              <a:avLst/>
            </a:prstGeom>
          </p:spPr>
        </p:pic>
      </p:grpSp>
      <p:grpSp>
        <p:nvGrpSpPr>
          <p:cNvPr id="195" name="Gruppieren 194"/>
          <p:cNvGrpSpPr/>
          <p:nvPr/>
        </p:nvGrpSpPr>
        <p:grpSpPr>
          <a:xfrm>
            <a:off x="3703811" y="3961664"/>
            <a:ext cx="697111" cy="697111"/>
            <a:chOff x="7921427" y="4005064"/>
            <a:chExt cx="697111" cy="697111"/>
          </a:xfrm>
        </p:grpSpPr>
        <p:sp>
          <p:nvSpPr>
            <p:cNvPr id="196" name="Ellipse 195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7" name="Grafik 196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8342" y="4108913"/>
              <a:ext cx="472480" cy="472480"/>
            </a:xfrm>
            <a:prstGeom prst="rect">
              <a:avLst/>
            </a:prstGeom>
          </p:spPr>
        </p:pic>
      </p:grpSp>
      <p:grpSp>
        <p:nvGrpSpPr>
          <p:cNvPr id="213" name="Gruppieren 212"/>
          <p:cNvGrpSpPr/>
          <p:nvPr/>
        </p:nvGrpSpPr>
        <p:grpSpPr>
          <a:xfrm>
            <a:off x="4523839" y="3961664"/>
            <a:ext cx="697111" cy="697111"/>
            <a:chOff x="3839266" y="4941168"/>
            <a:chExt cx="697111" cy="697111"/>
          </a:xfrm>
        </p:grpSpPr>
        <p:sp>
          <p:nvSpPr>
            <p:cNvPr id="214" name="Ellipse 213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5" name="Grafik 214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2407" y="5094309"/>
              <a:ext cx="390830" cy="390830"/>
            </a:xfrm>
            <a:prstGeom prst="rect">
              <a:avLst/>
            </a:prstGeom>
          </p:spPr>
        </p:pic>
      </p:grpSp>
      <p:grpSp>
        <p:nvGrpSpPr>
          <p:cNvPr id="216" name="Gruppieren 215"/>
          <p:cNvGrpSpPr/>
          <p:nvPr/>
        </p:nvGrpSpPr>
        <p:grpSpPr>
          <a:xfrm>
            <a:off x="6163895" y="3961664"/>
            <a:ext cx="697111" cy="697111"/>
            <a:chOff x="5472132" y="4941168"/>
            <a:chExt cx="697111" cy="697111"/>
          </a:xfrm>
        </p:grpSpPr>
        <p:sp>
          <p:nvSpPr>
            <p:cNvPr id="217" name="Ellipse 216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8" name="Grafik 217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0601" y="5079637"/>
              <a:ext cx="420174" cy="420174"/>
            </a:xfrm>
            <a:prstGeom prst="rect">
              <a:avLst/>
            </a:prstGeom>
          </p:spPr>
        </p:pic>
      </p:grpSp>
      <p:grpSp>
        <p:nvGrpSpPr>
          <p:cNvPr id="219" name="Gruppieren 218"/>
          <p:cNvGrpSpPr/>
          <p:nvPr/>
        </p:nvGrpSpPr>
        <p:grpSpPr>
          <a:xfrm>
            <a:off x="2883783" y="3961664"/>
            <a:ext cx="697111" cy="697111"/>
            <a:chOff x="1389967" y="4941168"/>
            <a:chExt cx="697111" cy="697111"/>
          </a:xfrm>
        </p:grpSpPr>
        <p:sp>
          <p:nvSpPr>
            <p:cNvPr id="220" name="Ellipse 219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1" name="Grafik 220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2283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225" name="Gruppieren 224"/>
          <p:cNvGrpSpPr/>
          <p:nvPr/>
        </p:nvGrpSpPr>
        <p:grpSpPr>
          <a:xfrm>
            <a:off x="5343867" y="3961664"/>
            <a:ext cx="697111" cy="697111"/>
            <a:chOff x="4655699" y="4941168"/>
            <a:chExt cx="697111" cy="697111"/>
          </a:xfrm>
        </p:grpSpPr>
        <p:sp>
          <p:nvSpPr>
            <p:cNvPr id="226" name="Ellipse 225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7" name="Grafik 226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7307" y="5102776"/>
              <a:ext cx="373896" cy="373896"/>
            </a:xfrm>
            <a:prstGeom prst="rect">
              <a:avLst/>
            </a:prstGeom>
          </p:spPr>
        </p:pic>
      </p:grpSp>
      <p:grpSp>
        <p:nvGrpSpPr>
          <p:cNvPr id="228" name="Gruppieren 227"/>
          <p:cNvGrpSpPr/>
          <p:nvPr/>
        </p:nvGrpSpPr>
        <p:grpSpPr>
          <a:xfrm>
            <a:off x="6983923" y="3961664"/>
            <a:ext cx="697111" cy="697111"/>
            <a:chOff x="6288565" y="4941168"/>
            <a:chExt cx="697111" cy="697111"/>
          </a:xfrm>
        </p:grpSpPr>
        <p:sp>
          <p:nvSpPr>
            <p:cNvPr id="229" name="Ellipse 228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0" name="Grafik 229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1195" y="5103798"/>
              <a:ext cx="371852" cy="371852"/>
            </a:xfrm>
            <a:prstGeom prst="rect">
              <a:avLst/>
            </a:prstGeom>
          </p:spPr>
        </p:pic>
      </p:grpSp>
      <p:grpSp>
        <p:nvGrpSpPr>
          <p:cNvPr id="255" name="Gruppieren 254"/>
          <p:cNvGrpSpPr/>
          <p:nvPr/>
        </p:nvGrpSpPr>
        <p:grpSpPr>
          <a:xfrm>
            <a:off x="7803951" y="3961664"/>
            <a:ext cx="697111" cy="697111"/>
            <a:chOff x="2206400" y="2155825"/>
            <a:chExt cx="697111" cy="697111"/>
          </a:xfrm>
        </p:grpSpPr>
        <p:sp>
          <p:nvSpPr>
            <p:cNvPr id="256" name="Ellipse 255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7" name="Grafik 256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2848" y="2282273"/>
              <a:ext cx="444218" cy="444218"/>
            </a:xfrm>
            <a:prstGeom prst="rect">
              <a:avLst/>
            </a:prstGeom>
          </p:spPr>
        </p:pic>
      </p:grpSp>
      <p:grpSp>
        <p:nvGrpSpPr>
          <p:cNvPr id="261" name="Gruppieren 260"/>
          <p:cNvGrpSpPr/>
          <p:nvPr/>
        </p:nvGrpSpPr>
        <p:grpSpPr>
          <a:xfrm>
            <a:off x="2063755" y="3961664"/>
            <a:ext cx="697111" cy="697111"/>
            <a:chOff x="573534" y="4941168"/>
            <a:chExt cx="697111" cy="697111"/>
          </a:xfrm>
        </p:grpSpPr>
        <p:sp>
          <p:nvSpPr>
            <p:cNvPr id="262" name="Ellipse 261"/>
            <p:cNvSpPr/>
            <p:nvPr/>
          </p:nvSpPr>
          <p:spPr>
            <a:xfrm>
              <a:off x="573534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3" name="Grafik 262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49" y="5053483"/>
              <a:ext cx="472480" cy="472480"/>
            </a:xfrm>
            <a:prstGeom prst="rect">
              <a:avLst/>
            </a:prstGeom>
          </p:spPr>
        </p:pic>
      </p:grpSp>
      <p:grpSp>
        <p:nvGrpSpPr>
          <p:cNvPr id="141" name="Gruppieren 140"/>
          <p:cNvGrpSpPr/>
          <p:nvPr/>
        </p:nvGrpSpPr>
        <p:grpSpPr>
          <a:xfrm>
            <a:off x="6163895" y="4797157"/>
            <a:ext cx="697111" cy="697111"/>
            <a:chOff x="573534" y="2155825"/>
            <a:chExt cx="697111" cy="697111"/>
          </a:xfrm>
        </p:grpSpPr>
        <p:sp>
          <p:nvSpPr>
            <p:cNvPr id="142" name="Ellipse 141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3" name="Grafik 142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50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144" name="Gruppieren 143"/>
          <p:cNvGrpSpPr/>
          <p:nvPr/>
        </p:nvGrpSpPr>
        <p:grpSpPr>
          <a:xfrm>
            <a:off x="6983923" y="4797157"/>
            <a:ext cx="697111" cy="697111"/>
            <a:chOff x="1389967" y="2155825"/>
            <a:chExt cx="697111" cy="697111"/>
          </a:xfrm>
        </p:grpSpPr>
        <p:sp>
          <p:nvSpPr>
            <p:cNvPr id="145" name="Ellipse 144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6" name="Grafik 145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5664" y="2301522"/>
              <a:ext cx="405718" cy="405718"/>
            </a:xfrm>
            <a:prstGeom prst="rect">
              <a:avLst/>
            </a:prstGeom>
          </p:spPr>
        </p:pic>
      </p:grpSp>
      <p:grpSp>
        <p:nvGrpSpPr>
          <p:cNvPr id="147" name="Gruppieren 146"/>
          <p:cNvGrpSpPr/>
          <p:nvPr/>
        </p:nvGrpSpPr>
        <p:grpSpPr>
          <a:xfrm>
            <a:off x="7803951" y="4797157"/>
            <a:ext cx="697111" cy="697111"/>
            <a:chOff x="2206400" y="4005064"/>
            <a:chExt cx="697111" cy="697111"/>
          </a:xfrm>
        </p:grpSpPr>
        <p:sp>
          <p:nvSpPr>
            <p:cNvPr id="148" name="Ellipse 147"/>
            <p:cNvSpPr/>
            <p:nvPr/>
          </p:nvSpPr>
          <p:spPr>
            <a:xfrm>
              <a:off x="2206400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/>
            </a:p>
          </p:txBody>
        </p:sp>
        <p:pic>
          <p:nvPicPr>
            <p:cNvPr id="149" name="Grafik 148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5624" y="4135821"/>
              <a:ext cx="418664" cy="418664"/>
            </a:xfrm>
            <a:prstGeom prst="rect">
              <a:avLst/>
            </a:prstGeom>
          </p:spPr>
        </p:pic>
      </p:grpSp>
      <p:grpSp>
        <p:nvGrpSpPr>
          <p:cNvPr id="150" name="Gruppieren 149"/>
          <p:cNvGrpSpPr/>
          <p:nvPr/>
        </p:nvGrpSpPr>
        <p:grpSpPr>
          <a:xfrm>
            <a:off x="2063755" y="4797157"/>
            <a:ext cx="697111" cy="697111"/>
            <a:chOff x="2206400" y="3068960"/>
            <a:chExt cx="697111" cy="697111"/>
          </a:xfrm>
        </p:grpSpPr>
        <p:sp>
          <p:nvSpPr>
            <p:cNvPr id="151" name="Ellipse 150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2" name="Grafik 151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9529" y="3222089"/>
              <a:ext cx="390854" cy="390854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/>
          <p:nvPr/>
        </p:nvGrpSpPr>
        <p:grpSpPr>
          <a:xfrm>
            <a:off x="4523839" y="4797157"/>
            <a:ext cx="697111" cy="697111"/>
            <a:chOff x="5472132" y="3068960"/>
            <a:chExt cx="697111" cy="697111"/>
          </a:xfrm>
        </p:grpSpPr>
        <p:sp>
          <p:nvSpPr>
            <p:cNvPr id="154" name="Ellipse 153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5" name="Grafik 154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62" name="Gruppieren 161"/>
          <p:cNvGrpSpPr/>
          <p:nvPr/>
        </p:nvGrpSpPr>
        <p:grpSpPr>
          <a:xfrm>
            <a:off x="2883783" y="4797157"/>
            <a:ext cx="697111" cy="697111"/>
            <a:chOff x="3022833" y="3068960"/>
            <a:chExt cx="697111" cy="697111"/>
          </a:xfrm>
        </p:grpSpPr>
        <p:sp>
          <p:nvSpPr>
            <p:cNvPr id="163" name="Ellipse 162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4" name="Grafik 163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149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74" name="Gruppieren 173"/>
          <p:cNvGrpSpPr/>
          <p:nvPr/>
        </p:nvGrpSpPr>
        <p:grpSpPr>
          <a:xfrm>
            <a:off x="3703811" y="4797157"/>
            <a:ext cx="697111" cy="697111"/>
            <a:chOff x="4655699" y="3068960"/>
            <a:chExt cx="697111" cy="697111"/>
          </a:xfrm>
        </p:grpSpPr>
        <p:sp>
          <p:nvSpPr>
            <p:cNvPr id="175" name="Ellipse 174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6" name="Grafik 175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58" name="Gruppieren 257"/>
          <p:cNvGrpSpPr/>
          <p:nvPr/>
        </p:nvGrpSpPr>
        <p:grpSpPr>
          <a:xfrm>
            <a:off x="5343867" y="4797157"/>
            <a:ext cx="697111" cy="697111"/>
            <a:chOff x="6288565" y="3068960"/>
            <a:chExt cx="697111" cy="697111"/>
          </a:xfrm>
        </p:grpSpPr>
        <p:sp>
          <p:nvSpPr>
            <p:cNvPr id="259" name="Ellipse 258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0" name="Grafik 259"/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264" name="Gruppieren 263"/>
          <p:cNvGrpSpPr/>
          <p:nvPr/>
        </p:nvGrpSpPr>
        <p:grpSpPr>
          <a:xfrm>
            <a:off x="9445432" y="2164297"/>
            <a:ext cx="697111" cy="697111"/>
            <a:chOff x="7104998" y="4005064"/>
            <a:chExt cx="697111" cy="697111"/>
          </a:xfrm>
        </p:grpSpPr>
        <p:sp>
          <p:nvSpPr>
            <p:cNvPr id="265" name="Ellipse 264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6" name="Grafik 265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8217" y="4148283"/>
              <a:ext cx="410674" cy="410674"/>
            </a:xfrm>
            <a:prstGeom prst="rect">
              <a:avLst/>
            </a:prstGeom>
          </p:spPr>
        </p:pic>
      </p:grpSp>
      <p:grpSp>
        <p:nvGrpSpPr>
          <p:cNvPr id="267" name="Gruppieren 266"/>
          <p:cNvGrpSpPr/>
          <p:nvPr/>
        </p:nvGrpSpPr>
        <p:grpSpPr>
          <a:xfrm>
            <a:off x="5354469" y="3068098"/>
            <a:ext cx="697111" cy="697111"/>
            <a:chOff x="7104998" y="3068960"/>
            <a:chExt cx="697111" cy="697111"/>
          </a:xfrm>
        </p:grpSpPr>
        <p:sp>
          <p:nvSpPr>
            <p:cNvPr id="268" name="Ellipse 267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9" name="Grafik 268"/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11" name="Gruppieren 110"/>
          <p:cNvGrpSpPr/>
          <p:nvPr/>
        </p:nvGrpSpPr>
        <p:grpSpPr>
          <a:xfrm>
            <a:off x="2063755" y="5618778"/>
            <a:ext cx="697111" cy="697111"/>
            <a:chOff x="573534" y="2155825"/>
            <a:chExt cx="697111" cy="697111"/>
          </a:xfrm>
        </p:grpSpPr>
        <p:sp>
          <p:nvSpPr>
            <p:cNvPr id="112" name="Ellipse 111"/>
            <p:cNvSpPr/>
            <p:nvPr/>
          </p:nvSpPr>
          <p:spPr>
            <a:xfrm>
              <a:off x="573534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3" name="Grafik 112"/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254" y="2324725"/>
              <a:ext cx="432000" cy="432000"/>
            </a:xfrm>
            <a:prstGeom prst="rect">
              <a:avLst/>
            </a:prstGeom>
          </p:spPr>
        </p:pic>
      </p:grpSp>
      <p:grpSp>
        <p:nvGrpSpPr>
          <p:cNvPr id="114" name="Gruppieren 113"/>
          <p:cNvGrpSpPr/>
          <p:nvPr/>
        </p:nvGrpSpPr>
        <p:grpSpPr>
          <a:xfrm>
            <a:off x="3703811" y="5618778"/>
            <a:ext cx="697111" cy="697111"/>
            <a:chOff x="3839266" y="2155825"/>
            <a:chExt cx="697111" cy="697111"/>
          </a:xfrm>
        </p:grpSpPr>
        <p:sp>
          <p:nvSpPr>
            <p:cNvPr id="115" name="Ellipse 114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6" name="Grafik 115"/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7210" y="2242314"/>
              <a:ext cx="493260" cy="493260"/>
            </a:xfrm>
            <a:prstGeom prst="rect">
              <a:avLst/>
            </a:prstGeom>
          </p:spPr>
        </p:pic>
      </p:grpSp>
      <p:grpSp>
        <p:nvGrpSpPr>
          <p:cNvPr id="117" name="Gruppieren 116"/>
          <p:cNvGrpSpPr/>
          <p:nvPr/>
        </p:nvGrpSpPr>
        <p:grpSpPr>
          <a:xfrm>
            <a:off x="2883783" y="5618778"/>
            <a:ext cx="697111" cy="697111"/>
            <a:chOff x="1389967" y="2155825"/>
            <a:chExt cx="697111" cy="697111"/>
          </a:xfrm>
        </p:grpSpPr>
        <p:sp>
          <p:nvSpPr>
            <p:cNvPr id="118" name="Ellipse 117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9" name="Grafik 118"/>
            <p:cNvPicPr>
              <a:picLocks noChangeAspect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6545" y="2268012"/>
              <a:ext cx="432002" cy="432000"/>
            </a:xfrm>
            <a:prstGeom prst="rect">
              <a:avLst/>
            </a:prstGeom>
          </p:spPr>
        </p:pic>
      </p:grpSp>
      <p:grpSp>
        <p:nvGrpSpPr>
          <p:cNvPr id="122" name="Gruppieren 121"/>
          <p:cNvGrpSpPr/>
          <p:nvPr/>
        </p:nvGrpSpPr>
        <p:grpSpPr>
          <a:xfrm>
            <a:off x="4523839" y="5618778"/>
            <a:ext cx="697111" cy="697111"/>
            <a:chOff x="4655699" y="2155825"/>
            <a:chExt cx="697111" cy="697111"/>
          </a:xfrm>
        </p:grpSpPr>
        <p:sp>
          <p:nvSpPr>
            <p:cNvPr id="123" name="Ellipse 122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4" name="Grafik 123"/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8906" y="2242314"/>
              <a:ext cx="493200" cy="493200"/>
            </a:xfrm>
            <a:prstGeom prst="rect">
              <a:avLst/>
            </a:prstGeom>
          </p:spPr>
        </p:pic>
      </p:grpSp>
      <p:grpSp>
        <p:nvGrpSpPr>
          <p:cNvPr id="128" name="Gruppieren 127"/>
          <p:cNvGrpSpPr/>
          <p:nvPr/>
        </p:nvGrpSpPr>
        <p:grpSpPr>
          <a:xfrm>
            <a:off x="6983923" y="5618778"/>
            <a:ext cx="697111" cy="697111"/>
            <a:chOff x="1389967" y="4941168"/>
            <a:chExt cx="697111" cy="697111"/>
          </a:xfrm>
        </p:grpSpPr>
        <p:sp>
          <p:nvSpPr>
            <p:cNvPr id="129" name="Ellipse 128"/>
            <p:cNvSpPr/>
            <p:nvPr/>
          </p:nvSpPr>
          <p:spPr>
            <a:xfrm>
              <a:off x="1389967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0" name="Grafik 129"/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3789" y="5053355"/>
              <a:ext cx="459834" cy="459834"/>
            </a:xfrm>
            <a:prstGeom prst="rect">
              <a:avLst/>
            </a:prstGeom>
          </p:spPr>
        </p:pic>
      </p:grpSp>
      <p:grpSp>
        <p:nvGrpSpPr>
          <p:cNvPr id="131" name="Gruppieren 130"/>
          <p:cNvGrpSpPr/>
          <p:nvPr/>
        </p:nvGrpSpPr>
        <p:grpSpPr>
          <a:xfrm>
            <a:off x="7803951" y="5618778"/>
            <a:ext cx="697111" cy="697111"/>
            <a:chOff x="5472132" y="2155825"/>
            <a:chExt cx="697111" cy="697111"/>
          </a:xfrm>
        </p:grpSpPr>
        <p:sp>
          <p:nvSpPr>
            <p:cNvPr id="159" name="Ellipse 158"/>
            <p:cNvSpPr/>
            <p:nvPr/>
          </p:nvSpPr>
          <p:spPr>
            <a:xfrm>
              <a:off x="5472132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0" name="Grafik 159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6400" y="2259571"/>
              <a:ext cx="458000" cy="458000"/>
            </a:xfrm>
            <a:prstGeom prst="rect">
              <a:avLst/>
            </a:prstGeom>
          </p:spPr>
        </p:pic>
      </p:grpSp>
      <p:grpSp>
        <p:nvGrpSpPr>
          <p:cNvPr id="161" name="Gruppieren 160"/>
          <p:cNvGrpSpPr/>
          <p:nvPr/>
        </p:nvGrpSpPr>
        <p:grpSpPr>
          <a:xfrm>
            <a:off x="8623979" y="5618778"/>
            <a:ext cx="697111" cy="697111"/>
            <a:chOff x="7104998" y="2155825"/>
            <a:chExt cx="697111" cy="697111"/>
          </a:xfrm>
        </p:grpSpPr>
        <p:sp>
          <p:nvSpPr>
            <p:cNvPr id="189" name="Ellipse 188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0" name="Grafik 189"/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1284" y="2282111"/>
              <a:ext cx="444540" cy="444540"/>
            </a:xfrm>
            <a:prstGeom prst="rect">
              <a:avLst/>
            </a:prstGeom>
          </p:spPr>
        </p:pic>
      </p:grpSp>
      <p:grpSp>
        <p:nvGrpSpPr>
          <p:cNvPr id="191" name="Gruppieren 190"/>
          <p:cNvGrpSpPr/>
          <p:nvPr/>
        </p:nvGrpSpPr>
        <p:grpSpPr>
          <a:xfrm>
            <a:off x="5343867" y="5618778"/>
            <a:ext cx="697111" cy="697111"/>
            <a:chOff x="1389967" y="2155825"/>
            <a:chExt cx="697111" cy="697111"/>
          </a:xfrm>
        </p:grpSpPr>
        <p:sp>
          <p:nvSpPr>
            <p:cNvPr id="192" name="Ellipse 191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3" name="Grafik 192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9843" y="2268141"/>
              <a:ext cx="493200" cy="493200"/>
            </a:xfrm>
            <a:prstGeom prst="rect">
              <a:avLst/>
            </a:prstGeom>
          </p:spPr>
        </p:pic>
      </p:grpSp>
      <p:grpSp>
        <p:nvGrpSpPr>
          <p:cNvPr id="194" name="Gruppieren 193"/>
          <p:cNvGrpSpPr/>
          <p:nvPr/>
        </p:nvGrpSpPr>
        <p:grpSpPr>
          <a:xfrm>
            <a:off x="9445432" y="5627245"/>
            <a:ext cx="697111" cy="697111"/>
            <a:chOff x="7104998" y="4005064"/>
            <a:chExt cx="697111" cy="697111"/>
          </a:xfrm>
        </p:grpSpPr>
        <p:sp>
          <p:nvSpPr>
            <p:cNvPr id="201" name="Ellipse 200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2" name="Grafik 201"/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8217" y="4148283"/>
              <a:ext cx="410674" cy="410674"/>
            </a:xfrm>
            <a:prstGeom prst="rect">
              <a:avLst/>
            </a:prstGeom>
          </p:spPr>
        </p:pic>
      </p:grpSp>
      <p:grpSp>
        <p:nvGrpSpPr>
          <p:cNvPr id="203" name="Gruppieren 202"/>
          <p:cNvGrpSpPr/>
          <p:nvPr/>
        </p:nvGrpSpPr>
        <p:grpSpPr>
          <a:xfrm>
            <a:off x="6158631" y="5618778"/>
            <a:ext cx="697111" cy="697111"/>
            <a:chOff x="1389967" y="2155825"/>
            <a:chExt cx="697111" cy="697111"/>
          </a:xfrm>
        </p:grpSpPr>
        <p:sp>
          <p:nvSpPr>
            <p:cNvPr id="204" name="Ellipse 203"/>
            <p:cNvSpPr/>
            <p:nvPr/>
          </p:nvSpPr>
          <p:spPr>
            <a:xfrm>
              <a:off x="138996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5" name="Grafik 204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1507547" y="2247421"/>
              <a:ext cx="493200" cy="493200"/>
            </a:xfrm>
            <a:prstGeom prst="rect">
              <a:avLst/>
            </a:prstGeom>
          </p:spPr>
        </p:pic>
      </p:grpSp>
      <p:grpSp>
        <p:nvGrpSpPr>
          <p:cNvPr id="206" name="Gruppieren 205"/>
          <p:cNvGrpSpPr/>
          <p:nvPr/>
        </p:nvGrpSpPr>
        <p:grpSpPr>
          <a:xfrm>
            <a:off x="8633603" y="3961664"/>
            <a:ext cx="697111" cy="697111"/>
            <a:chOff x="2206400" y="2155825"/>
            <a:chExt cx="697111" cy="697111"/>
          </a:xfrm>
        </p:grpSpPr>
        <p:sp>
          <p:nvSpPr>
            <p:cNvPr id="207" name="Ellipse 206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8" name="Grafik 207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2848" y="2263619"/>
              <a:ext cx="444218" cy="4442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5561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2063750" y="1384693"/>
          <a:ext cx="8078788" cy="521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9394"/>
                <a:gridCol w="4039394"/>
              </a:tblGrid>
              <a:tr h="19800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8000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300" dirty="0" smtClean="0"/>
                        <a:t>Text</a:t>
                      </a:r>
                      <a:endParaRPr lang="de-DE" sz="13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411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129389"/>
              </p:ext>
            </p:extLst>
          </p:nvPr>
        </p:nvGraphicFramePr>
        <p:xfrm>
          <a:off x="2281534" y="2420888"/>
          <a:ext cx="7629441" cy="2560320"/>
        </p:xfrm>
        <a:graphic>
          <a:graphicData uri="http://schemas.openxmlformats.org/drawingml/2006/table">
            <a:tbl>
              <a:tblPr firstRow="1" bandRow="1"/>
              <a:tblGrid>
                <a:gridCol w="4499524"/>
                <a:gridCol w="1481237"/>
                <a:gridCol w="1648680"/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</a:tr>
              <a:tr h="335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3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3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3644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graphicFrame>
        <p:nvGraphicFramePr>
          <p:cNvPr id="6" name="Tabelle 5"/>
          <p:cNvGraphicFramePr>
            <a:graphicFrameLocks noGrp="1"/>
          </p:cNvGraphicFramePr>
          <p:nvPr>
            <p:extLst/>
          </p:nvPr>
        </p:nvGraphicFramePr>
        <p:xfrm>
          <a:off x="2063552" y="1385272"/>
          <a:ext cx="8078986" cy="5212080"/>
        </p:xfrm>
        <a:graphic>
          <a:graphicData uri="http://schemas.openxmlformats.org/drawingml/2006/table">
            <a:tbl>
              <a:tblPr firstRow="1" bandRow="1"/>
              <a:tblGrid>
                <a:gridCol w="4764647"/>
                <a:gridCol w="1568515"/>
                <a:gridCol w="1745824"/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4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1F7D">
                        <a:tint val="2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CCD7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de-DE" sz="1200" b="1" dirty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EC"/>
                    </a:solidFill>
                  </a:tcPr>
                </a:tc>
              </a:tr>
            </a:tbl>
          </a:graphicData>
        </a:graphic>
      </p:graphicFrame>
      <p:pic>
        <p:nvPicPr>
          <p:cNvPr id="5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0394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57619218"/>
              </p:ext>
            </p:extLst>
          </p:nvPr>
        </p:nvGraphicFramePr>
        <p:xfrm>
          <a:off x="2207818" y="2420893"/>
          <a:ext cx="7776864" cy="3872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53799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840330755"/>
              </p:ext>
            </p:extLst>
          </p:nvPr>
        </p:nvGraphicFramePr>
        <p:xfrm>
          <a:off x="2351584" y="2364557"/>
          <a:ext cx="7632848" cy="3907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04111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244004" y="2340005"/>
            <a:ext cx="3491961" cy="3924151"/>
          </a:xfrm>
        </p:spPr>
        <p:txBody>
          <a:bodyPr/>
          <a:lstStyle/>
          <a:p>
            <a:r>
              <a:rPr lang="de-DE" dirty="0"/>
              <a:t>Lorem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  <a:p>
            <a:r>
              <a:rPr lang="de-DE" dirty="0" smtClean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  <a:p>
            <a:r>
              <a:rPr lang="de-DE" dirty="0" err="1" smtClean="0"/>
              <a:t>Nulla</a:t>
            </a:r>
            <a:r>
              <a:rPr lang="de-DE" dirty="0" smtClean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</a:p>
          <a:p>
            <a:endParaRPr lang="de-DE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55052582"/>
              </p:ext>
            </p:extLst>
          </p:nvPr>
        </p:nvGraphicFramePr>
        <p:xfrm>
          <a:off x="5735965" y="2283392"/>
          <a:ext cx="4022541" cy="3936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38207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xt mit Störer</a:t>
            </a:r>
            <a:endParaRPr lang="de-DE" dirty="0"/>
          </a:p>
        </p:txBody>
      </p:sp>
      <p:sp>
        <p:nvSpPr>
          <p:cNvPr id="7" name="Richtungspfeil 6"/>
          <p:cNvSpPr/>
          <p:nvPr/>
        </p:nvSpPr>
        <p:spPr>
          <a:xfrm>
            <a:off x="0" y="4941168"/>
            <a:ext cx="5112120" cy="792088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pt-BR" sz="1500" b="1" dirty="0"/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96065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  <a:endParaRPr lang="de-DE" dirty="0"/>
          </a:p>
          <a:p>
            <a:r>
              <a:rPr lang="de-DE" dirty="0"/>
              <a:t>Titelvarianten </a:t>
            </a:r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dirty="0" smtClean="0"/>
              <a:t>Grafiken</a:t>
            </a:r>
          </a:p>
          <a:p>
            <a:r>
              <a:rPr lang="de-DE" b="1" dirty="0" smtClean="0">
                <a:solidFill>
                  <a:schemeClr val="tx2"/>
                </a:solidFill>
              </a:rPr>
              <a:t>Screenshots einfügen</a:t>
            </a:r>
          </a:p>
          <a:p>
            <a:r>
              <a:rPr lang="de-DE" dirty="0" smtClean="0"/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15768659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8188" y="2399921"/>
            <a:ext cx="5616124" cy="372834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9" name="Textplatzhalter 1"/>
          <p:cNvSpPr txBox="1">
            <a:spLocks/>
          </p:cNvSpPr>
          <p:nvPr/>
        </p:nvSpPr>
        <p:spPr>
          <a:xfrm>
            <a:off x="8544272" y="4725144"/>
            <a:ext cx="1681884" cy="168188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92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70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7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Gut lesbarer Screenshot mit feinem grauen Rand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782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8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7506" y="188640"/>
            <a:ext cx="2700000" cy="39342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6100" y="1481708"/>
            <a:ext cx="7200300" cy="478002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0" name="Textplatzhalter 1"/>
          <p:cNvSpPr txBox="1">
            <a:spLocks/>
          </p:cNvSpPr>
          <p:nvPr/>
        </p:nvSpPr>
        <p:spPr>
          <a:xfrm>
            <a:off x="8184232" y="4353320"/>
            <a:ext cx="2206548" cy="2206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92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70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7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900" b="1" dirty="0"/>
              <a:t>Gut lesbarer Screenshot mit feinem grauen Rand</a:t>
            </a:r>
          </a:p>
        </p:txBody>
      </p:sp>
    </p:spTree>
    <p:extLst>
      <p:ext uri="{BB962C8B-B14F-4D97-AF65-F5344CB8AC3E}">
        <p14:creationId xmlns:p14="http://schemas.microsoft.com/office/powerpoint/2010/main" val="1110820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nstiges</a:t>
            </a:r>
          </a:p>
        </p:txBody>
      </p:sp>
      <p:grpSp>
        <p:nvGrpSpPr>
          <p:cNvPr id="29" name="Gruppieren 28"/>
          <p:cNvGrpSpPr/>
          <p:nvPr/>
        </p:nvGrpSpPr>
        <p:grpSpPr>
          <a:xfrm>
            <a:off x="2064005" y="3080450"/>
            <a:ext cx="697111" cy="697111"/>
            <a:chOff x="573534" y="3068960"/>
            <a:chExt cx="697111" cy="697111"/>
          </a:xfrm>
        </p:grpSpPr>
        <p:sp>
          <p:nvSpPr>
            <p:cNvPr id="42" name="Ellipse 41"/>
            <p:cNvSpPr/>
            <p:nvPr/>
          </p:nvSpPr>
          <p:spPr>
            <a:xfrm>
              <a:off x="573534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913" y="3222339"/>
              <a:ext cx="390354" cy="390354"/>
            </a:xfrm>
            <a:prstGeom prst="rect">
              <a:avLst/>
            </a:prstGeom>
          </p:spPr>
        </p:pic>
      </p:grpSp>
      <p:grpSp>
        <p:nvGrpSpPr>
          <p:cNvPr id="35" name="Gruppieren 34"/>
          <p:cNvGrpSpPr/>
          <p:nvPr/>
        </p:nvGrpSpPr>
        <p:grpSpPr>
          <a:xfrm>
            <a:off x="3704323" y="3080450"/>
            <a:ext cx="697111" cy="697111"/>
            <a:chOff x="2206400" y="3068960"/>
            <a:chExt cx="697111" cy="697111"/>
          </a:xfrm>
        </p:grpSpPr>
        <p:sp>
          <p:nvSpPr>
            <p:cNvPr id="45" name="Ellipse 44"/>
            <p:cNvSpPr/>
            <p:nvPr/>
          </p:nvSpPr>
          <p:spPr>
            <a:xfrm>
              <a:off x="2206400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6" name="Grafik 4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2163" y="3194723"/>
              <a:ext cx="445586" cy="445586"/>
            </a:xfrm>
            <a:prstGeom prst="rect">
              <a:avLst/>
            </a:prstGeom>
          </p:spPr>
        </p:pic>
      </p:grpSp>
      <p:grpSp>
        <p:nvGrpSpPr>
          <p:cNvPr id="39" name="Gruppieren 38"/>
          <p:cNvGrpSpPr/>
          <p:nvPr/>
        </p:nvGrpSpPr>
        <p:grpSpPr>
          <a:xfrm>
            <a:off x="5344641" y="3080450"/>
            <a:ext cx="697111" cy="697111"/>
            <a:chOff x="3839266" y="3068960"/>
            <a:chExt cx="697111" cy="697111"/>
          </a:xfrm>
        </p:grpSpPr>
        <p:sp>
          <p:nvSpPr>
            <p:cNvPr id="48" name="Ellipse 47"/>
            <p:cNvSpPr/>
            <p:nvPr/>
          </p:nvSpPr>
          <p:spPr>
            <a:xfrm>
              <a:off x="3839266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9" name="Grafik 4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9747" y="3209441"/>
              <a:ext cx="416150" cy="416150"/>
            </a:xfrm>
            <a:prstGeom prst="rect">
              <a:avLst/>
            </a:prstGeom>
          </p:spPr>
        </p:pic>
      </p:grpSp>
      <p:grpSp>
        <p:nvGrpSpPr>
          <p:cNvPr id="41" name="Gruppieren 40"/>
          <p:cNvGrpSpPr/>
          <p:nvPr/>
        </p:nvGrpSpPr>
        <p:grpSpPr>
          <a:xfrm>
            <a:off x="6984959" y="3080450"/>
            <a:ext cx="697111" cy="697111"/>
            <a:chOff x="5472132" y="3068960"/>
            <a:chExt cx="697111" cy="697111"/>
          </a:xfrm>
        </p:grpSpPr>
        <p:sp>
          <p:nvSpPr>
            <p:cNvPr id="51" name="Ellipse 50"/>
            <p:cNvSpPr/>
            <p:nvPr/>
          </p:nvSpPr>
          <p:spPr>
            <a:xfrm>
              <a:off x="5472132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331" y="3224159"/>
              <a:ext cx="386714" cy="386714"/>
            </a:xfrm>
            <a:prstGeom prst="rect">
              <a:avLst/>
            </a:prstGeom>
          </p:spPr>
        </p:pic>
      </p:grpSp>
      <p:grpSp>
        <p:nvGrpSpPr>
          <p:cNvPr id="47" name="Gruppieren 46"/>
          <p:cNvGrpSpPr/>
          <p:nvPr/>
        </p:nvGrpSpPr>
        <p:grpSpPr>
          <a:xfrm>
            <a:off x="8625277" y="3080450"/>
            <a:ext cx="697111" cy="697111"/>
            <a:chOff x="7104998" y="3068960"/>
            <a:chExt cx="697111" cy="697111"/>
          </a:xfrm>
        </p:grpSpPr>
        <p:sp>
          <p:nvSpPr>
            <p:cNvPr id="54" name="Ellipse 53"/>
            <p:cNvSpPr/>
            <p:nvPr/>
          </p:nvSpPr>
          <p:spPr>
            <a:xfrm>
              <a:off x="7104998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5" name="Grafik 5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1885" y="3231248"/>
              <a:ext cx="423338" cy="423338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9445432" y="3080450"/>
            <a:ext cx="697111" cy="697111"/>
            <a:chOff x="7921427" y="3068960"/>
            <a:chExt cx="697111" cy="697111"/>
          </a:xfrm>
        </p:grpSpPr>
        <p:sp>
          <p:nvSpPr>
            <p:cNvPr id="57" name="Ellipse 56"/>
            <p:cNvSpPr/>
            <p:nvPr/>
          </p:nvSpPr>
          <p:spPr>
            <a:xfrm>
              <a:off x="792142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8" name="Grafik 5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32" name="Gruppieren 31"/>
          <p:cNvGrpSpPr/>
          <p:nvPr/>
        </p:nvGrpSpPr>
        <p:grpSpPr>
          <a:xfrm>
            <a:off x="2884164" y="3080450"/>
            <a:ext cx="697111" cy="697111"/>
            <a:chOff x="1389967" y="3068960"/>
            <a:chExt cx="697111" cy="697111"/>
          </a:xfrm>
        </p:grpSpPr>
        <p:sp>
          <p:nvSpPr>
            <p:cNvPr id="60" name="Ellipse 59"/>
            <p:cNvSpPr/>
            <p:nvPr/>
          </p:nvSpPr>
          <p:spPr>
            <a:xfrm>
              <a:off x="1389967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1" name="Grafik 6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3771" y="3212764"/>
              <a:ext cx="409504" cy="409504"/>
            </a:xfrm>
            <a:prstGeom prst="rect">
              <a:avLst/>
            </a:prstGeom>
          </p:spPr>
        </p:pic>
      </p:grpSp>
      <p:grpSp>
        <p:nvGrpSpPr>
          <p:cNvPr id="40" name="Gruppieren 39"/>
          <p:cNvGrpSpPr/>
          <p:nvPr/>
        </p:nvGrpSpPr>
        <p:grpSpPr>
          <a:xfrm>
            <a:off x="6164800" y="3080450"/>
            <a:ext cx="697111" cy="697111"/>
            <a:chOff x="4655699" y="3068960"/>
            <a:chExt cx="697111" cy="697111"/>
          </a:xfrm>
        </p:grpSpPr>
        <p:sp>
          <p:nvSpPr>
            <p:cNvPr id="66" name="Ellipse 65"/>
            <p:cNvSpPr/>
            <p:nvPr/>
          </p:nvSpPr>
          <p:spPr>
            <a:xfrm>
              <a:off x="4655699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7" name="Grafik 6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8139" y="3191400"/>
              <a:ext cx="452232" cy="452232"/>
            </a:xfrm>
            <a:prstGeom prst="rect">
              <a:avLst/>
            </a:prstGeom>
          </p:spPr>
        </p:pic>
      </p:grpSp>
      <p:grpSp>
        <p:nvGrpSpPr>
          <p:cNvPr id="44" name="Gruppieren 43"/>
          <p:cNvGrpSpPr/>
          <p:nvPr/>
        </p:nvGrpSpPr>
        <p:grpSpPr>
          <a:xfrm>
            <a:off x="7805118" y="3080450"/>
            <a:ext cx="697111" cy="697111"/>
            <a:chOff x="6288565" y="3068960"/>
            <a:chExt cx="697111" cy="697111"/>
          </a:xfrm>
        </p:grpSpPr>
        <p:sp>
          <p:nvSpPr>
            <p:cNvPr id="69" name="Ellipse 68"/>
            <p:cNvSpPr/>
            <p:nvPr/>
          </p:nvSpPr>
          <p:spPr>
            <a:xfrm>
              <a:off x="6288565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0" name="Grafik 6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3181276"/>
              <a:ext cx="472480" cy="472480"/>
            </a:xfrm>
            <a:prstGeom prst="rect">
              <a:avLst/>
            </a:prstGeom>
          </p:spPr>
        </p:pic>
      </p:grpSp>
      <p:grpSp>
        <p:nvGrpSpPr>
          <p:cNvPr id="101" name="Gruppieren 100"/>
          <p:cNvGrpSpPr/>
          <p:nvPr/>
        </p:nvGrpSpPr>
        <p:grpSpPr>
          <a:xfrm>
            <a:off x="4524482" y="3080450"/>
            <a:ext cx="697111" cy="697111"/>
            <a:chOff x="5472132" y="4941168"/>
            <a:chExt cx="697111" cy="697111"/>
          </a:xfrm>
        </p:grpSpPr>
        <p:sp>
          <p:nvSpPr>
            <p:cNvPr id="111" name="Ellipse 110"/>
            <p:cNvSpPr/>
            <p:nvPr/>
          </p:nvSpPr>
          <p:spPr>
            <a:xfrm>
              <a:off x="5472132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2" name="Grafik 1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448" y="5036550"/>
              <a:ext cx="472480" cy="472480"/>
            </a:xfrm>
            <a:prstGeom prst="rect">
              <a:avLst/>
            </a:prstGeom>
          </p:spPr>
        </p:pic>
      </p:grpSp>
      <p:grpSp>
        <p:nvGrpSpPr>
          <p:cNvPr id="56" name="Gruppieren 55"/>
          <p:cNvGrpSpPr/>
          <p:nvPr/>
        </p:nvGrpSpPr>
        <p:grpSpPr>
          <a:xfrm>
            <a:off x="2064005" y="4005069"/>
            <a:ext cx="697111" cy="697111"/>
            <a:chOff x="1389967" y="4005064"/>
            <a:chExt cx="697111" cy="697111"/>
          </a:xfrm>
        </p:grpSpPr>
        <p:sp>
          <p:nvSpPr>
            <p:cNvPr id="90" name="Ellipse 89"/>
            <p:cNvSpPr/>
            <p:nvPr/>
          </p:nvSpPr>
          <p:spPr>
            <a:xfrm>
              <a:off x="138996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1" name="Grafik 9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9479" y="4124576"/>
              <a:ext cx="458088" cy="458088"/>
            </a:xfrm>
            <a:prstGeom prst="rect">
              <a:avLst/>
            </a:prstGeom>
          </p:spPr>
        </p:pic>
      </p:grpSp>
      <p:grpSp>
        <p:nvGrpSpPr>
          <p:cNvPr id="95" name="Gruppieren 94"/>
          <p:cNvGrpSpPr/>
          <p:nvPr/>
        </p:nvGrpSpPr>
        <p:grpSpPr>
          <a:xfrm>
            <a:off x="2883461" y="4005069"/>
            <a:ext cx="697111" cy="697111"/>
            <a:chOff x="3839266" y="4941168"/>
            <a:chExt cx="697111" cy="697111"/>
          </a:xfrm>
        </p:grpSpPr>
        <p:sp>
          <p:nvSpPr>
            <p:cNvPr id="108" name="Ellipse 107"/>
            <p:cNvSpPr/>
            <p:nvPr/>
          </p:nvSpPr>
          <p:spPr>
            <a:xfrm>
              <a:off x="3839266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9" name="Grafik 108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1582" y="5078885"/>
              <a:ext cx="472480" cy="472480"/>
            </a:xfrm>
            <a:prstGeom prst="rect">
              <a:avLst/>
            </a:prstGeom>
          </p:spPr>
        </p:pic>
      </p:grpSp>
      <p:grpSp>
        <p:nvGrpSpPr>
          <p:cNvPr id="98" name="Gruppieren 97"/>
          <p:cNvGrpSpPr/>
          <p:nvPr/>
        </p:nvGrpSpPr>
        <p:grpSpPr>
          <a:xfrm>
            <a:off x="3699894" y="4005069"/>
            <a:ext cx="697111" cy="697111"/>
            <a:chOff x="4655699" y="4941168"/>
            <a:chExt cx="697111" cy="697111"/>
          </a:xfrm>
        </p:grpSpPr>
        <p:sp>
          <p:nvSpPr>
            <p:cNvPr id="126" name="Ellipse 125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7" name="Grafik 126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8015" y="5078885"/>
              <a:ext cx="472480" cy="472480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>
          <a:xfrm>
            <a:off x="2064005" y="2155830"/>
            <a:ext cx="697111" cy="697111"/>
            <a:chOff x="2206400" y="2155825"/>
            <a:chExt cx="697111" cy="697111"/>
          </a:xfrm>
        </p:grpSpPr>
        <p:sp>
          <p:nvSpPr>
            <p:cNvPr id="6" name="Ellipse 5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1314" y="2300739"/>
              <a:ext cx="407286" cy="407286"/>
            </a:xfrm>
            <a:prstGeom prst="rect">
              <a:avLst/>
            </a:prstGeom>
          </p:spPr>
        </p:pic>
      </p:grpSp>
      <p:grpSp>
        <p:nvGrpSpPr>
          <p:cNvPr id="12" name="Gruppieren 11"/>
          <p:cNvGrpSpPr/>
          <p:nvPr/>
        </p:nvGrpSpPr>
        <p:grpSpPr>
          <a:xfrm>
            <a:off x="3704323" y="2155830"/>
            <a:ext cx="697111" cy="697111"/>
            <a:chOff x="3839266" y="2155825"/>
            <a:chExt cx="697111" cy="697111"/>
          </a:xfrm>
        </p:grpSpPr>
        <p:sp>
          <p:nvSpPr>
            <p:cNvPr id="15" name="Ellipse 14"/>
            <p:cNvSpPr/>
            <p:nvPr/>
          </p:nvSpPr>
          <p:spPr>
            <a:xfrm>
              <a:off x="3839266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374" y="2302933"/>
              <a:ext cx="402896" cy="402896"/>
            </a:xfrm>
            <a:prstGeom prst="rect">
              <a:avLst/>
            </a:prstGeom>
          </p:spPr>
        </p:pic>
      </p:grpSp>
      <p:grpSp>
        <p:nvGrpSpPr>
          <p:cNvPr id="20" name="Gruppieren 19"/>
          <p:cNvGrpSpPr/>
          <p:nvPr/>
        </p:nvGrpSpPr>
        <p:grpSpPr>
          <a:xfrm>
            <a:off x="6984959" y="2155830"/>
            <a:ext cx="697111" cy="697111"/>
            <a:chOff x="7104998" y="2155825"/>
            <a:chExt cx="697111" cy="697111"/>
          </a:xfrm>
        </p:grpSpPr>
        <p:sp>
          <p:nvSpPr>
            <p:cNvPr id="21" name="Ellipse 20"/>
            <p:cNvSpPr/>
            <p:nvPr/>
          </p:nvSpPr>
          <p:spPr>
            <a:xfrm>
              <a:off x="7104998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2268141"/>
              <a:ext cx="472480" cy="472480"/>
            </a:xfrm>
            <a:prstGeom prst="rect">
              <a:avLst/>
            </a:prstGeom>
          </p:spPr>
        </p:pic>
      </p:grpSp>
      <p:grpSp>
        <p:nvGrpSpPr>
          <p:cNvPr id="23" name="Gruppieren 22"/>
          <p:cNvGrpSpPr/>
          <p:nvPr/>
        </p:nvGrpSpPr>
        <p:grpSpPr>
          <a:xfrm>
            <a:off x="7805118" y="2155830"/>
            <a:ext cx="697111" cy="697111"/>
            <a:chOff x="7921427" y="2155825"/>
            <a:chExt cx="697111" cy="697111"/>
          </a:xfrm>
        </p:grpSpPr>
        <p:sp>
          <p:nvSpPr>
            <p:cNvPr id="24" name="Ellipse 23"/>
            <p:cNvSpPr/>
            <p:nvPr/>
          </p:nvSpPr>
          <p:spPr>
            <a:xfrm>
              <a:off x="7921427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585" y="2292983"/>
              <a:ext cx="422796" cy="422796"/>
            </a:xfrm>
            <a:prstGeom prst="rect">
              <a:avLst/>
            </a:prstGeom>
          </p:spPr>
        </p:pic>
      </p:grpSp>
      <p:grpSp>
        <p:nvGrpSpPr>
          <p:cNvPr id="11" name="Gruppieren 10"/>
          <p:cNvGrpSpPr/>
          <p:nvPr/>
        </p:nvGrpSpPr>
        <p:grpSpPr>
          <a:xfrm>
            <a:off x="2884164" y="2155830"/>
            <a:ext cx="697111" cy="697111"/>
            <a:chOff x="3022833" y="2155825"/>
            <a:chExt cx="697111" cy="697111"/>
          </a:xfrm>
        </p:grpSpPr>
        <p:sp>
          <p:nvSpPr>
            <p:cNvPr id="30" name="Ellipse 29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6637" y="2299629"/>
              <a:ext cx="409504" cy="409504"/>
            </a:xfrm>
            <a:prstGeom prst="rect">
              <a:avLst/>
            </a:prstGeom>
          </p:spPr>
        </p:pic>
      </p:grpSp>
      <p:grpSp>
        <p:nvGrpSpPr>
          <p:cNvPr id="13" name="Gruppieren 12"/>
          <p:cNvGrpSpPr/>
          <p:nvPr/>
        </p:nvGrpSpPr>
        <p:grpSpPr>
          <a:xfrm>
            <a:off x="4524482" y="2155830"/>
            <a:ext cx="697111" cy="697111"/>
            <a:chOff x="4655699" y="2155825"/>
            <a:chExt cx="697111" cy="697111"/>
          </a:xfrm>
        </p:grpSpPr>
        <p:sp>
          <p:nvSpPr>
            <p:cNvPr id="33" name="Ellipse 32"/>
            <p:cNvSpPr/>
            <p:nvPr/>
          </p:nvSpPr>
          <p:spPr>
            <a:xfrm>
              <a:off x="4655699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7288" y="2297414"/>
              <a:ext cx="413934" cy="413934"/>
            </a:xfrm>
            <a:prstGeom prst="rect">
              <a:avLst/>
            </a:prstGeom>
          </p:spPr>
        </p:pic>
      </p:grpSp>
      <p:grpSp>
        <p:nvGrpSpPr>
          <p:cNvPr id="38" name="Gruppieren 37"/>
          <p:cNvGrpSpPr/>
          <p:nvPr/>
        </p:nvGrpSpPr>
        <p:grpSpPr>
          <a:xfrm>
            <a:off x="6164800" y="2155830"/>
            <a:ext cx="697111" cy="697111"/>
            <a:chOff x="3022833" y="3068960"/>
            <a:chExt cx="697111" cy="697111"/>
          </a:xfrm>
        </p:grpSpPr>
        <p:sp>
          <p:nvSpPr>
            <p:cNvPr id="63" name="Ellipse 62"/>
            <p:cNvSpPr/>
            <p:nvPr/>
          </p:nvSpPr>
          <p:spPr>
            <a:xfrm>
              <a:off x="3022833" y="3068960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8408" y="3224535"/>
              <a:ext cx="385962" cy="385962"/>
            </a:xfrm>
            <a:prstGeom prst="rect">
              <a:avLst/>
            </a:prstGeom>
          </p:spPr>
        </p:pic>
      </p:grpSp>
      <p:grpSp>
        <p:nvGrpSpPr>
          <p:cNvPr id="107" name="Gruppieren 106"/>
          <p:cNvGrpSpPr/>
          <p:nvPr/>
        </p:nvGrpSpPr>
        <p:grpSpPr>
          <a:xfrm>
            <a:off x="9445432" y="2155830"/>
            <a:ext cx="697111" cy="697111"/>
            <a:chOff x="7104998" y="4941168"/>
            <a:chExt cx="697111" cy="697111"/>
          </a:xfrm>
        </p:grpSpPr>
        <p:sp>
          <p:nvSpPr>
            <p:cNvPr id="114" name="Ellipse 113"/>
            <p:cNvSpPr/>
            <p:nvPr/>
          </p:nvSpPr>
          <p:spPr>
            <a:xfrm>
              <a:off x="7104998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5" name="Grafik 114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314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104" name="Gruppieren 103"/>
          <p:cNvGrpSpPr/>
          <p:nvPr/>
        </p:nvGrpSpPr>
        <p:grpSpPr>
          <a:xfrm>
            <a:off x="8625277" y="2155830"/>
            <a:ext cx="697111" cy="697111"/>
            <a:chOff x="6288565" y="4941168"/>
            <a:chExt cx="697111" cy="697111"/>
          </a:xfrm>
        </p:grpSpPr>
        <p:sp>
          <p:nvSpPr>
            <p:cNvPr id="129" name="Ellipse 128"/>
            <p:cNvSpPr/>
            <p:nvPr/>
          </p:nvSpPr>
          <p:spPr>
            <a:xfrm>
              <a:off x="6288565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0" name="Grafik 129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0881" y="5053484"/>
              <a:ext cx="472480" cy="472480"/>
            </a:xfrm>
            <a:prstGeom prst="rect">
              <a:avLst/>
            </a:prstGeom>
          </p:spPr>
        </p:pic>
      </p:grpSp>
      <p:grpSp>
        <p:nvGrpSpPr>
          <p:cNvPr id="125" name="Gruppieren 124"/>
          <p:cNvGrpSpPr/>
          <p:nvPr/>
        </p:nvGrpSpPr>
        <p:grpSpPr>
          <a:xfrm>
            <a:off x="5344641" y="2155830"/>
            <a:ext cx="697111" cy="697111"/>
            <a:chOff x="7104998" y="4005064"/>
            <a:chExt cx="697111" cy="697111"/>
          </a:xfrm>
        </p:grpSpPr>
        <p:sp>
          <p:nvSpPr>
            <p:cNvPr id="128" name="Ellipse 127"/>
            <p:cNvSpPr/>
            <p:nvPr/>
          </p:nvSpPr>
          <p:spPr>
            <a:xfrm>
              <a:off x="7104998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1" name="Grafik 130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7013" y="4137079"/>
              <a:ext cx="433082" cy="433082"/>
            </a:xfrm>
            <a:prstGeom prst="rect">
              <a:avLst/>
            </a:prstGeom>
          </p:spPr>
        </p:pic>
      </p:grpSp>
      <p:grpSp>
        <p:nvGrpSpPr>
          <p:cNvPr id="73" name="Gruppieren 72"/>
          <p:cNvGrpSpPr/>
          <p:nvPr/>
        </p:nvGrpSpPr>
        <p:grpSpPr>
          <a:xfrm>
            <a:off x="6999657" y="4005069"/>
            <a:ext cx="697111" cy="697111"/>
            <a:chOff x="7921427" y="4005064"/>
            <a:chExt cx="697111" cy="697111"/>
          </a:xfrm>
        </p:grpSpPr>
        <p:sp>
          <p:nvSpPr>
            <p:cNvPr id="74" name="Ellipse 73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5" name="Grafik 74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76" name="Gruppieren 75"/>
          <p:cNvGrpSpPr/>
          <p:nvPr/>
        </p:nvGrpSpPr>
        <p:grpSpPr>
          <a:xfrm>
            <a:off x="5355759" y="4005069"/>
            <a:ext cx="697111" cy="697111"/>
            <a:chOff x="2206400" y="2155825"/>
            <a:chExt cx="697111" cy="697111"/>
          </a:xfrm>
        </p:grpSpPr>
        <p:sp>
          <p:nvSpPr>
            <p:cNvPr id="77" name="Ellipse 76"/>
            <p:cNvSpPr/>
            <p:nvPr/>
          </p:nvSpPr>
          <p:spPr>
            <a:xfrm>
              <a:off x="2206400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8" name="Grafik 77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2514" y="2291939"/>
              <a:ext cx="424886" cy="424886"/>
            </a:xfrm>
            <a:prstGeom prst="rect">
              <a:avLst/>
            </a:prstGeom>
          </p:spPr>
        </p:pic>
      </p:grpSp>
      <p:grpSp>
        <p:nvGrpSpPr>
          <p:cNvPr id="79" name="Gruppieren 78"/>
          <p:cNvGrpSpPr/>
          <p:nvPr/>
        </p:nvGrpSpPr>
        <p:grpSpPr>
          <a:xfrm>
            <a:off x="6177708" y="4005069"/>
            <a:ext cx="697111" cy="697111"/>
            <a:chOff x="3022833" y="2155825"/>
            <a:chExt cx="697111" cy="697111"/>
          </a:xfrm>
        </p:grpSpPr>
        <p:sp>
          <p:nvSpPr>
            <p:cNvPr id="80" name="Ellipse 79"/>
            <p:cNvSpPr/>
            <p:nvPr/>
          </p:nvSpPr>
          <p:spPr>
            <a:xfrm>
              <a:off x="3022833" y="2155825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1" name="Grafik 80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8274" y="2311266"/>
              <a:ext cx="386230" cy="386230"/>
            </a:xfrm>
            <a:prstGeom prst="rect">
              <a:avLst/>
            </a:prstGeom>
          </p:spPr>
        </p:pic>
      </p:grpSp>
      <p:grpSp>
        <p:nvGrpSpPr>
          <p:cNvPr id="87" name="Gruppieren 86"/>
          <p:cNvGrpSpPr/>
          <p:nvPr/>
        </p:nvGrpSpPr>
        <p:grpSpPr>
          <a:xfrm>
            <a:off x="7821606" y="4005069"/>
            <a:ext cx="697111" cy="697111"/>
            <a:chOff x="7921427" y="4005064"/>
            <a:chExt cx="697111" cy="697111"/>
          </a:xfrm>
        </p:grpSpPr>
        <p:sp>
          <p:nvSpPr>
            <p:cNvPr id="88" name="Ellipse 87"/>
            <p:cNvSpPr/>
            <p:nvPr/>
          </p:nvSpPr>
          <p:spPr>
            <a:xfrm>
              <a:off x="7921427" y="4005064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9" name="Grafik 88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743" y="4117380"/>
              <a:ext cx="472480" cy="472480"/>
            </a:xfrm>
            <a:prstGeom prst="rect">
              <a:avLst/>
            </a:prstGeom>
          </p:spPr>
        </p:pic>
      </p:grpSp>
      <p:grpSp>
        <p:nvGrpSpPr>
          <p:cNvPr id="93" name="Gruppieren 92"/>
          <p:cNvGrpSpPr/>
          <p:nvPr/>
        </p:nvGrpSpPr>
        <p:grpSpPr>
          <a:xfrm>
            <a:off x="4537985" y="4005069"/>
            <a:ext cx="697111" cy="697111"/>
            <a:chOff x="4655699" y="4941168"/>
            <a:chExt cx="697111" cy="697111"/>
          </a:xfrm>
        </p:grpSpPr>
        <p:sp>
          <p:nvSpPr>
            <p:cNvPr id="94" name="Ellipse 93"/>
            <p:cNvSpPr/>
            <p:nvPr/>
          </p:nvSpPr>
          <p:spPr>
            <a:xfrm>
              <a:off x="4655699" y="4941168"/>
              <a:ext cx="697111" cy="6971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6" name="Grafik 95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237" y="5114772"/>
              <a:ext cx="366838" cy="3668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006875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700" y="2852936"/>
            <a:ext cx="3646560" cy="332821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3999" y="2340005"/>
            <a:ext cx="7668000" cy="692497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Der Screenshot wird auf der weißen Fläche des Monitors platziert. Der Bildschirm kann beliebig vergrößert oder verkleinert werden. Verwenden Sie ausschließlich Screenshots, die eine gute Qualität haben.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62383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Fotolia_49027733_XXL_RE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09" b="45974"/>
          <a:stretch/>
        </p:blipFill>
        <p:spPr bwMode="auto">
          <a:xfrm flipH="1">
            <a:off x="6813434" y="1484805"/>
            <a:ext cx="2350958" cy="2146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G:\Fotolia_49027733_XXL_RE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09" b="45974"/>
          <a:stretch/>
        </p:blipFill>
        <p:spPr bwMode="auto">
          <a:xfrm flipH="1">
            <a:off x="8137530" y="3269273"/>
            <a:ext cx="2350958" cy="2146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G:\Fotolia_49027733_XXL_RE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09" b="45974"/>
          <a:stretch/>
        </p:blipFill>
        <p:spPr bwMode="auto">
          <a:xfrm flipH="1">
            <a:off x="6735285" y="4159730"/>
            <a:ext cx="2350958" cy="2146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244004" y="2340001"/>
            <a:ext cx="4212041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457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1300" y="764704"/>
            <a:ext cx="6349360" cy="5795050"/>
          </a:xfrm>
          <a:prstGeom prst="rect">
            <a:avLst/>
          </a:prstGeom>
        </p:spPr>
      </p:pic>
      <p:sp>
        <p:nvSpPr>
          <p:cNvPr id="7" name="Textplatzhalter 1"/>
          <p:cNvSpPr txBox="1">
            <a:spLocks/>
          </p:cNvSpPr>
          <p:nvPr/>
        </p:nvSpPr>
        <p:spPr>
          <a:xfrm>
            <a:off x="7935990" y="4094240"/>
            <a:ext cx="2206548" cy="2206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92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70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7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500" b="1" dirty="0"/>
              <a:t>Der Screenshot wird auf der weißen Fläche des Monitors platziert </a:t>
            </a:r>
          </a:p>
        </p:txBody>
      </p:sp>
      <p:pic>
        <p:nvPicPr>
          <p:cNvPr id="6" name="Bild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16561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8" name="Bild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000" y="544140"/>
            <a:ext cx="2700000" cy="39342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792" y="1412776"/>
            <a:ext cx="3444382" cy="5184576"/>
          </a:xfrm>
          <a:prstGeom prst="rect">
            <a:avLst/>
          </a:prstGeom>
        </p:spPr>
      </p:pic>
      <p:sp>
        <p:nvSpPr>
          <p:cNvPr id="7" name="Textplatzhalter 1"/>
          <p:cNvSpPr txBox="1">
            <a:spLocks/>
          </p:cNvSpPr>
          <p:nvPr/>
        </p:nvSpPr>
        <p:spPr>
          <a:xfrm>
            <a:off x="6607452" y="4221088"/>
            <a:ext cx="2206548" cy="2206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92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70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7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500" b="1" dirty="0"/>
              <a:t>Der Screenshot wird auf der weißen Fläche des Touchscreens platziert </a:t>
            </a:r>
          </a:p>
        </p:txBody>
      </p:sp>
    </p:spTree>
    <p:extLst>
      <p:ext uri="{BB962C8B-B14F-4D97-AF65-F5344CB8AC3E}">
        <p14:creationId xmlns:p14="http://schemas.microsoft.com/office/powerpoint/2010/main" val="10439780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4928" y="3083818"/>
            <a:ext cx="2057061" cy="309634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21" y="3083818"/>
            <a:ext cx="2057061" cy="3096344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3630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766" y="1221961"/>
            <a:ext cx="4770434" cy="5361022"/>
          </a:xfrm>
          <a:prstGeom prst="rect">
            <a:avLst/>
          </a:prstGeom>
        </p:spPr>
      </p:pic>
      <p:sp>
        <p:nvSpPr>
          <p:cNvPr id="7" name="Textplatzhalter 1"/>
          <p:cNvSpPr txBox="1">
            <a:spLocks/>
          </p:cNvSpPr>
          <p:nvPr/>
        </p:nvSpPr>
        <p:spPr>
          <a:xfrm>
            <a:off x="7032104" y="4293096"/>
            <a:ext cx="2206548" cy="2206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92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7063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7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500" b="1" dirty="0"/>
              <a:t>Der Screenshot wird auf der weißen Fläche des Touchscreens platziert </a:t>
            </a:r>
          </a:p>
        </p:txBody>
      </p:sp>
      <p:pic>
        <p:nvPicPr>
          <p:cNvPr id="9" name="Bild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00" y="172665"/>
            <a:ext cx="2700000" cy="3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33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074863" y="2157418"/>
            <a:ext cx="8064500" cy="3000821"/>
          </a:xfrm>
        </p:spPr>
        <p:txBody>
          <a:bodyPr>
            <a:spAutoFit/>
          </a:bodyPr>
          <a:lstStyle/>
          <a:p>
            <a:r>
              <a:rPr lang="de-DE" dirty="0"/>
              <a:t>Icons und </a:t>
            </a:r>
            <a:r>
              <a:rPr lang="de-DE" dirty="0" smtClean="0"/>
              <a:t>Logos</a:t>
            </a:r>
            <a:endParaRPr lang="de-DE" dirty="0"/>
          </a:p>
          <a:p>
            <a:r>
              <a:rPr lang="de-DE" dirty="0"/>
              <a:t>Titelvarianten </a:t>
            </a:r>
          </a:p>
          <a:p>
            <a:r>
              <a:rPr lang="de-DE" dirty="0" err="1" smtClean="0"/>
              <a:t>Kapiteltrenner</a:t>
            </a:r>
            <a:endParaRPr lang="de-DE" dirty="0" smtClean="0"/>
          </a:p>
          <a:p>
            <a:r>
              <a:rPr lang="de-DE" dirty="0" smtClean="0"/>
              <a:t>Text</a:t>
            </a:r>
          </a:p>
          <a:p>
            <a:r>
              <a:rPr lang="de-DE" dirty="0"/>
              <a:t>Zitate</a:t>
            </a:r>
            <a:endParaRPr lang="de-DE" dirty="0" smtClean="0"/>
          </a:p>
          <a:p>
            <a:r>
              <a:rPr lang="de-DE" dirty="0" smtClean="0"/>
              <a:t>Grafiken</a:t>
            </a:r>
          </a:p>
          <a:p>
            <a:r>
              <a:rPr lang="de-DE" dirty="0" smtClean="0"/>
              <a:t>Screenshots einfügen</a:t>
            </a:r>
          </a:p>
          <a:p>
            <a:r>
              <a:rPr lang="de-DE" b="1" dirty="0" smtClean="0">
                <a:solidFill>
                  <a:schemeClr val="tx2"/>
                </a:solidFill>
              </a:rPr>
              <a:t>Störer</a:t>
            </a:r>
          </a:p>
        </p:txBody>
      </p:sp>
    </p:spTree>
    <p:extLst>
      <p:ext uri="{BB962C8B-B14F-4D97-AF65-F5344CB8AC3E}">
        <p14:creationId xmlns:p14="http://schemas.microsoft.com/office/powerpoint/2010/main" val="411052835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243999" y="2340000"/>
            <a:ext cx="7668000" cy="107721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Der </a:t>
            </a:r>
            <a:r>
              <a:rPr lang="de-DE" dirty="0"/>
              <a:t>Störer </a:t>
            </a:r>
            <a:r>
              <a:rPr lang="de-DE" dirty="0" smtClean="0"/>
              <a:t>zieht die </a:t>
            </a:r>
            <a:r>
              <a:rPr lang="de-DE" dirty="0"/>
              <a:t>Aufmerksamkeit des Betrachters auf </a:t>
            </a:r>
            <a:r>
              <a:rPr lang="de-DE" dirty="0" smtClean="0"/>
              <a:t>sich. Er eignet sich besonders, um ein Fazit einzublenden. </a:t>
            </a:r>
          </a:p>
          <a:p>
            <a:r>
              <a:rPr lang="de-DE" dirty="0"/>
              <a:t>Verwenden lässt sich jede BITMARCK-Farbe für den Störer</a:t>
            </a:r>
            <a:r>
              <a:rPr lang="de-DE" dirty="0" smtClean="0"/>
              <a:t>.</a:t>
            </a:r>
          </a:p>
          <a:p>
            <a:r>
              <a:rPr lang="de-DE" dirty="0" smtClean="0"/>
              <a:t>Um die Form zu ändern, wählen Sie „Format“ &gt; „Form bearbeiten“</a:t>
            </a:r>
            <a:endParaRPr lang="de-DE" dirty="0"/>
          </a:p>
        </p:txBody>
      </p:sp>
      <p:sp>
        <p:nvSpPr>
          <p:cNvPr id="3" name="Ellipse 2"/>
          <p:cNvSpPr/>
          <p:nvPr/>
        </p:nvSpPr>
        <p:spPr>
          <a:xfrm>
            <a:off x="9580964" y="4293096"/>
            <a:ext cx="1891704" cy="189170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b="1" dirty="0"/>
              <a:t>Hier steht ein Stör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64095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>
          <a:xfrm>
            <a:off x="9580964" y="4221088"/>
            <a:ext cx="1891704" cy="1891704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b="1" dirty="0"/>
              <a:t>Hier steht ein Stör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99316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äne 2"/>
          <p:cNvSpPr/>
          <p:nvPr/>
        </p:nvSpPr>
        <p:spPr>
          <a:xfrm flipH="1">
            <a:off x="9600460" y="4293096"/>
            <a:ext cx="1872208" cy="1891704"/>
          </a:xfrm>
          <a:prstGeom prst="teardrop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b="1" dirty="0"/>
              <a:t>Hier steht ein Stör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959999" y="2340001"/>
            <a:ext cx="10224000" cy="2308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90352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heme/theme1.xml><?xml version="1.0" encoding="utf-8"?>
<a:theme xmlns:a="http://schemas.openxmlformats.org/drawingml/2006/main" name="Master_Titel">
  <a:themeElements>
    <a:clrScheme name="BITMARCK">
      <a:dk1>
        <a:sysClr val="windowText" lastClr="000000"/>
      </a:dk1>
      <a:lt1>
        <a:sysClr val="window" lastClr="FFFFFF"/>
      </a:lt1>
      <a:dk2>
        <a:srgbClr val="A61F7D"/>
      </a:dk2>
      <a:lt2>
        <a:srgbClr val="232D8D"/>
      </a:lt2>
      <a:accent1>
        <a:srgbClr val="F6D900"/>
      </a:accent1>
      <a:accent2>
        <a:srgbClr val="44B0BA"/>
      </a:accent2>
      <a:accent3>
        <a:srgbClr val="E07A11"/>
      </a:accent3>
      <a:accent4>
        <a:srgbClr val="57AB27"/>
      </a:accent4>
      <a:accent5>
        <a:srgbClr val="C32A27"/>
      </a:accent5>
      <a:accent6>
        <a:srgbClr val="C8C8C8"/>
      </a:accent6>
      <a:hlink>
        <a:srgbClr val="A61F7D"/>
      </a:hlink>
      <a:folHlink>
        <a:srgbClr val="232D8D"/>
      </a:folHlink>
    </a:clrScheme>
    <a:fontScheme name="BITMARC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448496C5-2564-49FA-B71B-16CF3E26228E}" vid="{8356B5DA-267E-4E93-AB00-798CD6CF88E1}"/>
    </a:ext>
  </a:extLst>
</a:theme>
</file>

<file path=ppt/theme/theme2.xml><?xml version="1.0" encoding="utf-8"?>
<a:theme xmlns:a="http://schemas.openxmlformats.org/drawingml/2006/main" name="Master_Content">
  <a:themeElements>
    <a:clrScheme name="BITMARCK">
      <a:dk1>
        <a:sysClr val="windowText" lastClr="000000"/>
      </a:dk1>
      <a:lt1>
        <a:sysClr val="window" lastClr="FFFFFF"/>
      </a:lt1>
      <a:dk2>
        <a:srgbClr val="A61F7D"/>
      </a:dk2>
      <a:lt2>
        <a:srgbClr val="232D8D"/>
      </a:lt2>
      <a:accent1>
        <a:srgbClr val="F6D900"/>
      </a:accent1>
      <a:accent2>
        <a:srgbClr val="44B0BA"/>
      </a:accent2>
      <a:accent3>
        <a:srgbClr val="E07A11"/>
      </a:accent3>
      <a:accent4>
        <a:srgbClr val="57AB27"/>
      </a:accent4>
      <a:accent5>
        <a:srgbClr val="C32A27"/>
      </a:accent5>
      <a:accent6>
        <a:srgbClr val="C8C8C8"/>
      </a:accent6>
      <a:hlink>
        <a:srgbClr val="A61F7D"/>
      </a:hlink>
      <a:folHlink>
        <a:srgbClr val="232D8D"/>
      </a:folHlink>
    </a:clrScheme>
    <a:fontScheme name="BITMARC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448496C5-2564-49FA-B71B-16CF3E26228E}" vid="{3DFCC3EC-A0B3-4201-8DE0-7EA59071FE52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3c58cf5-d585-4f84-afcc-7f6e7d716aba">
      <Value>12</Value>
      <Value>11</Value>
      <Value>77</Value>
      <Value>8</Value>
      <Value>6</Value>
      <Value>5</Value>
      <Value>4</Value>
      <Value>3</Value>
      <Value>2</Value>
      <Value>1</Value>
      <Value>221</Value>
    </TaxCatchAll>
    <mc0fe49e34414194bf80d14366552e36 xmlns="a3c58cf5-d585-4f84-afcc-7f6e7d716aba">
      <Terms xmlns="http://schemas.microsoft.com/office/infopath/2007/PartnerControls">
        <TermInfo xmlns="http://schemas.microsoft.com/office/infopath/2007/PartnerControls">
          <TermName xmlns="http://schemas.microsoft.com/office/infopath/2007/PartnerControls">BITMARCK Beratung GmbH</TermName>
          <TermId xmlns="http://schemas.microsoft.com/office/infopath/2007/PartnerControls">393bd4b1-4b8f-4849-ac66-a85011040a02</TermId>
        </TermInfo>
        <TermInfo xmlns="http://schemas.microsoft.com/office/infopath/2007/PartnerControls">
          <TermName xmlns="http://schemas.microsoft.com/office/infopath/2007/PartnerControls">BITMARCK Holding GmbH</TermName>
          <TermId xmlns="http://schemas.microsoft.com/office/infopath/2007/PartnerControls">b6a03b47-5b95-4ba9-8389-e93fcb3af17a</TermId>
        </TermInfo>
        <TermInfo xmlns="http://schemas.microsoft.com/office/infopath/2007/PartnerControls">
          <TermName xmlns="http://schemas.microsoft.com/office/infopath/2007/PartnerControls">BITMARCK Service GmbH</TermName>
          <TermId xmlns="http://schemas.microsoft.com/office/infopath/2007/PartnerControls">177c190f-5aad-4416-9e10-27aaa2815aef</TermId>
        </TermInfo>
        <TermInfo xmlns="http://schemas.microsoft.com/office/infopath/2007/PartnerControls">
          <TermName xmlns="http://schemas.microsoft.com/office/infopath/2007/PartnerControls">BITMARCK Software GmbH</TermName>
          <TermId xmlns="http://schemas.microsoft.com/office/infopath/2007/PartnerControls">8af06d9d-4997-4326-8276-5bbc6044fb74</TermId>
        </TermInfo>
        <TermInfo xmlns="http://schemas.microsoft.com/office/infopath/2007/PartnerControls">
          <TermName xmlns="http://schemas.microsoft.com/office/infopath/2007/PartnerControls">BITMARCK Technik GmbH</TermName>
          <TermId xmlns="http://schemas.microsoft.com/office/infopath/2007/PartnerControls">4528b854-2d01-4823-9a47-8e8a69c5bc28</TermId>
        </TermInfo>
      </Terms>
    </mc0fe49e34414194bf80d14366552e36>
    <Dokumenten-Verantwortlicher xmlns="a3c58cf5-d585-4f84-afcc-7f6e7d716aba">
      <UserInfo>
        <DisplayName>Tagrikulu, Semiha</DisplayName>
        <AccountId>36</AccountId>
        <AccountType/>
      </UserInfo>
    </Dokumenten-Verantwortlicher>
    <TaxKeywordTaxHTField xmlns="a3c58cf5-d585-4f84-afcc-7f6e7d716aba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n</TermName>
          <TermId xmlns="http://schemas.microsoft.com/office/infopath/2007/PartnerControls">589fcefa-04fb-4197-a410-b901eb209f45</TermId>
        </TermInfo>
        <TermInfo xmlns="http://schemas.microsoft.com/office/infopath/2007/PartnerControls">
          <TermName xmlns="http://schemas.microsoft.com/office/infopath/2007/PartnerControls">Präsentationsmaster</TermName>
          <TermId xmlns="http://schemas.microsoft.com/office/infopath/2007/PartnerControls">9dd18c9b-15b1-48b1-8ef1-87312701670c</TermId>
        </TermInfo>
        <TermInfo xmlns="http://schemas.microsoft.com/office/infopath/2007/PartnerControls">
          <TermName xmlns="http://schemas.microsoft.com/office/infopath/2007/PartnerControls">Präsentation</TermName>
          <TermId xmlns="http://schemas.microsoft.com/office/infopath/2007/PartnerControls">ac0394b7-6647-4784-b9aa-8c6ca5cac461</TermId>
        </TermInfo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789e89d4-fc54-4f4b-b468-ae03aedeb63b</TermId>
        </TermInfo>
        <TermInfo xmlns="http://schemas.microsoft.com/office/infopath/2007/PartnerControls">
          <TermName xmlns="http://schemas.microsoft.com/office/infopath/2007/PartnerControls">PPT</TermName>
          <TermId xmlns="http://schemas.microsoft.com/office/infopath/2007/PartnerControls">a81bf98b-dc18-4b94-af90-0168b121b73f</TermId>
        </TermInfo>
      </Terms>
    </TaxKeywordTaxHTField>
    <CategoryDescription xmlns="http://schemas.microsoft.com/sharepoint.v3">Vorlage für PowerPoint-Präsentationen</CategoryDescription>
    <Reviewdatum xmlns="a3c58cf5-d585-4f84-afcc-7f6e7d716aba" xsi:nil="true"/>
    <gfb9d2005c694f739eb95aca640230ed xmlns="a3c58cf5-d585-4f84-afcc-7f6e7d716aba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andard Dokument</TermName>
          <TermId xmlns="http://schemas.microsoft.com/office/infopath/2007/PartnerControls">5856c7dc-7809-4f58-8772-5cf102fafd14</TermId>
        </TermInfo>
      </Terms>
    </gfb9d2005c694f739eb95aca640230e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Vorlage" ma:contentTypeID="0x010100D324B6D63E9E2D42A441A8B65EDD14052F0015676DC6F3B857438C5B3B5B452BAA9F" ma:contentTypeVersion="17" ma:contentTypeDescription="Inhaltstyp für Vorlagen in der Vorlagenbibliothek (ContenttypeHub)" ma:contentTypeScope="" ma:versionID="0ad5d6117cd924bfe592a457a717c5ee">
  <xsd:schema xmlns:xsd="http://www.w3.org/2001/XMLSchema" xmlns:xs="http://www.w3.org/2001/XMLSchema" xmlns:p="http://schemas.microsoft.com/office/2006/metadata/properties" xmlns:ns2="a3c58cf5-d585-4f84-afcc-7f6e7d716aba" xmlns:ns3="http://schemas.microsoft.com/sharepoint.v3" targetNamespace="http://schemas.microsoft.com/office/2006/metadata/properties" ma:root="true" ma:fieldsID="dc128ba62ad5bbcb8569d0a858fc5ed5" ns2:_="" ns3:_="">
    <xsd:import namespace="a3c58cf5-d585-4f84-afcc-7f6e7d716aba"/>
    <xsd:import namespace="http://schemas.microsoft.com/sharepoint.v3"/>
    <xsd:element name="properties">
      <xsd:complexType>
        <xsd:sequence>
          <xsd:element name="documentManagement">
            <xsd:complexType>
              <xsd:all>
                <xsd:element ref="ns2:Dokumenten-Verantwortlicher"/>
                <xsd:element ref="ns3:CategoryDescription" minOccurs="0"/>
                <xsd:element ref="ns2:mc0fe49e34414194bf80d14366552e36" minOccurs="0"/>
                <xsd:element ref="ns2:TaxCatchAll" minOccurs="0"/>
                <xsd:element ref="ns2:TaxCatchAllLabel" minOccurs="0"/>
                <xsd:element ref="ns2:TaxKeywordTaxHTField" minOccurs="0"/>
                <xsd:element ref="ns2:Reviewdatum" minOccurs="0"/>
                <xsd:element ref="ns2:gfb9d2005c694f739eb95aca640230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c58cf5-d585-4f84-afcc-7f6e7d716aba" elementFormDefault="qualified">
    <xsd:import namespace="http://schemas.microsoft.com/office/2006/documentManagement/types"/>
    <xsd:import namespace="http://schemas.microsoft.com/office/infopath/2007/PartnerControls"/>
    <xsd:element name="Dokumenten-Verantwortlicher" ma:index="1" ma:displayName="Dokumenten-Verantwortlicher" ma:list="UserInfo" ma:SearchPeopleOnly="false" ma:SharePointGroup="0" ma:internalName="Dokumenten_x002d_Verantwortlich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c0fe49e34414194bf80d14366552e36" ma:index="6" nillable="true" ma:taxonomy="true" ma:internalName="mc0fe49e34414194bf80d14366552e36" ma:taxonomyFieldName="Business_x0020_Unit" ma:displayName="Business Unit" ma:default="" ma:fieldId="{6c0fe49e-3441-4194-bf80-d14366552e36}" ma:taxonomyMulti="true" ma:sspId="5b4278ab-d9c3-4342-a776-4fc5fb751f32" ma:termSetId="94322040-2bd2-4de6-8ef7-308583c1d02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7" nillable="true" ma:displayName="Taxonomy Catch All Column" ma:description="" ma:hidden="true" ma:list="{c0955b92-aa22-4aaf-87d9-029d580efdda}" ma:internalName="TaxCatchAll" ma:showField="CatchAllData" ma:web="a3c58cf5-d585-4f84-afcc-7f6e7d716a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description="" ma:hidden="true" ma:list="{c0955b92-aa22-4aaf-87d9-029d580efdda}" ma:internalName="TaxCatchAllLabel" ma:readOnly="true" ma:showField="CatchAllDataLabel" ma:web="a3c58cf5-d585-4f84-afcc-7f6e7d716a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4" nillable="true" ma:taxonomy="true" ma:internalName="TaxKeywordTaxHTField" ma:taxonomyFieldName="TaxKeyword" ma:displayName="Unternehmensstichwörter" ma:fieldId="{23f27201-bee3-471e-b2e7-b64fd8b7ca38}" ma:taxonomyMulti="true" ma:sspId="5b4278ab-d9c3-4342-a776-4fc5fb751f3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Reviewdatum" ma:index="16" nillable="true" ma:displayName="Reviewdatum" ma:description="Datum zur Überprüfung von Elementen und Dokumenten. Standardmäßig soll das Dokument ein Jahr später überprüft werden." ma:format="DateOnly" ma:hidden="true" ma:internalName="Reviewdatum" ma:readOnly="false">
      <xsd:simpleType>
        <xsd:restriction base="dms:DateTime"/>
      </xsd:simpleType>
    </xsd:element>
    <xsd:element name="gfb9d2005c694f739eb95aca640230ed" ma:index="17" nillable="true" ma:taxonomy="true" ma:internalName="gfb9d2005c694f739eb95aca640230ed" ma:taxonomyFieldName="Dokumentenkategorie" ma:displayName="Dokumentenkategorie" ma:indexed="true" ma:default="" ma:fieldId="{0fb9d200-5c69-4f73-9eb9-5aca640230ed}" ma:sspId="5b4278ab-d9c3-4342-a776-4fc5fb751f32" ma:termSetId="eb0272c8-ba67-4146-bf49-91e75462c19d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2" nillable="true" ma:displayName="Beschreibung" ma:internalName="Category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Inhaltstyp"/>
        <xsd:element ref="dc:title" minOccurs="0" maxOccurs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E01626-211D-4E2A-AEC8-7733D3E5C1F5}">
  <ds:schemaRefs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a3c58cf5-d585-4f84-afcc-7f6e7d716aba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schemas.microsoft.com/sharepoint.v3"/>
  </ds:schemaRefs>
</ds:datastoreItem>
</file>

<file path=customXml/itemProps2.xml><?xml version="1.0" encoding="utf-8"?>
<ds:datastoreItem xmlns:ds="http://schemas.openxmlformats.org/officeDocument/2006/customXml" ds:itemID="{5A25FD6F-1A14-4ED6-9A8B-A0CDDB9AB0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c58cf5-d585-4f84-afcc-7f6e7d716aba"/>
    <ds:schemaRef ds:uri="http://schemas.microsoft.com/sharepoint.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36444F-DCA1-455D-9E3B-91FAC892C8C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M_PT_I_Präsentationsmaster</Template>
  <TotalTime>0</TotalTime>
  <Words>2701</Words>
  <Application>Microsoft Office PowerPoint</Application>
  <PresentationFormat>Breitbild</PresentationFormat>
  <Paragraphs>719</Paragraphs>
  <Slides>10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02</vt:i4>
      </vt:variant>
    </vt:vector>
  </HeadingPairs>
  <TitlesOfParts>
    <vt:vector size="110" baseType="lpstr">
      <vt:lpstr>ＭＳ Ｐゴシック</vt:lpstr>
      <vt:lpstr>ＭＳ Ｐゴシック</vt:lpstr>
      <vt:lpstr>Arial</vt:lpstr>
      <vt:lpstr>ARIALkörper)</vt:lpstr>
      <vt:lpstr>Calibri</vt:lpstr>
      <vt:lpstr>Wingdings</vt:lpstr>
      <vt:lpstr>Master_Titel</vt:lpstr>
      <vt:lpstr>Master_Content</vt:lpstr>
      <vt:lpstr>PowerPoint-Präsentation</vt:lpstr>
      <vt:lpstr>Checkliste</vt:lpstr>
      <vt:lpstr>Inhalt</vt:lpstr>
      <vt:lpstr>Logos/Social Media/Hardware</vt:lpstr>
      <vt:lpstr>Büro/Organisation </vt:lpstr>
      <vt:lpstr>Büro/Organisation </vt:lpstr>
      <vt:lpstr>Sonstiges</vt:lpstr>
      <vt:lpstr>Sonstiges</vt:lpstr>
      <vt:lpstr>Sonstiges</vt:lpstr>
      <vt:lpstr>IT</vt:lpstr>
      <vt:lpstr>IT</vt:lpstr>
      <vt:lpstr>IT</vt:lpstr>
      <vt:lpstr>Logos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halt</vt:lpstr>
      <vt:lpstr>PowerPoint-Präsentation</vt:lpstr>
      <vt:lpstr>PowerPoint-Präsentation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abell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ext mit Störer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ITMAR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oph Kiank</dc:creator>
  <cp:keywords>Präsentationsmaster; PowerPoint; Präsentation; PPT; Vorlagen</cp:keywords>
  <cp:lastModifiedBy>Christoph Kiank</cp:lastModifiedBy>
  <cp:revision>18</cp:revision>
  <cp:lastPrinted>2013-09-13T06:16:09Z</cp:lastPrinted>
  <dcterms:created xsi:type="dcterms:W3CDTF">2017-11-24T10:59:00Z</dcterms:created>
  <dcterms:modified xsi:type="dcterms:W3CDTF">2018-05-14T08:4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cm_ItemDeleteBlockHolders">
    <vt:lpwstr>ecm_InPlaceRecordLock</vt:lpwstr>
  </property>
  <property fmtid="{D5CDD505-2E9C-101B-9397-08002B2CF9AE}" pid="3" name="Kategorie3">
    <vt:lpwstr>9;#BM|38c58514-cbea-45c4-bc36-58a605d07f0f</vt:lpwstr>
  </property>
  <property fmtid="{D5CDD505-2E9C-101B-9397-08002B2CF9AE}" pid="4" name="ContentTypeId">
    <vt:lpwstr>0x010100D324B6D63E9E2D42A441A8B65EDD14052F0015676DC6F3B857438C5B3B5B452BAA9F</vt:lpwstr>
  </property>
  <property fmtid="{D5CDD505-2E9C-101B-9397-08002B2CF9AE}" pid="5" name="Kategorie1">
    <vt:lpwstr>203;#Kommunikation|281eed32-60d2-4ef3-874b-ecc88e0a1845</vt:lpwstr>
  </property>
  <property fmtid="{D5CDD505-2E9C-101B-9397-08002B2CF9AE}" pid="6" name="_vti_ItemHoldRecordStatus">
    <vt:i4>273</vt:i4>
  </property>
  <property fmtid="{D5CDD505-2E9C-101B-9397-08002B2CF9AE}" pid="7" name="IconOverlay">
    <vt:lpwstr>|potx|lockoverlay.png</vt:lpwstr>
  </property>
  <property fmtid="{D5CDD505-2E9C-101B-9397-08002B2CF9AE}" pid="8" name="WorkflowChangePath">
    <vt:lpwstr>ab8601be-811f-4da2-a33d-144594fcc006,4;ab8601be-811f-4da2-a33d-144594fcc006,6;ab8601be-811f-4da2-a33d-144594fcc006,8;ab8601be-811f-4da2-a33d-144594fcc006,8;9ca7c58d-9be2-4d3c-8c24-77b45f6b7203,13;ba7ff476-d0d0-4d3d-bb6e-572efe8b1f1c,17;7f0a3324-59e3-40af-</vt:lpwstr>
  </property>
  <property fmtid="{D5CDD505-2E9C-101B-9397-08002B2CF9AE}" pid="9" name="ecm_RecordRestrictions">
    <vt:lpwstr>BlockDelete, BlockEdit</vt:lpwstr>
  </property>
  <property fmtid="{D5CDD505-2E9C-101B-9397-08002B2CF9AE}" pid="10" name="Kategorie2">
    <vt:lpwstr>27;#01-04 Information und Kommunikation|e9727fcf-e16e-4282-90c4-198576602db1;#11;#01 Strategisch|f63c82ad-7242-40b9-9fce-e7d82541e444</vt:lpwstr>
  </property>
  <property fmtid="{D5CDD505-2E9C-101B-9397-08002B2CF9AE}" pid="11" name="ecm_ItemLockHolders">
    <vt:lpwstr>ecm_InPlaceRecordLock</vt:lpwstr>
  </property>
  <property fmtid="{D5CDD505-2E9C-101B-9397-08002B2CF9AE}" pid="12" name="_vti_ItemDeclaredRecord">
    <vt:filetime>2017-03-14T09:18:52Z</vt:filetime>
  </property>
  <property fmtid="{D5CDD505-2E9C-101B-9397-08002B2CF9AE}" pid="13" name="Business Unit">
    <vt:lpwstr>1;#BITMARCK Beratung GmbH|393bd4b1-4b8f-4849-ac66-a85011040a02;#2;#BITMARCK Holding GmbH|b6a03b47-5b95-4ba9-8389-e93fcb3af17a;#3;#BITMARCK Service GmbH|177c190f-5aad-4416-9e10-27aaa2815aef;#4;#BITMARCK Software GmbH|8af06d9d-4997-4326-8276-5bbc6044fb74;#5</vt:lpwstr>
  </property>
  <property fmtid="{D5CDD505-2E9C-101B-9397-08002B2CF9AE}" pid="14" name="TaxKeyword">
    <vt:lpwstr>6;#Vorlagen|589fcefa-04fb-4197-a410-b901eb209f45;#12;#Präsentationsmaster|9dd18c9b-15b1-48b1-8ef1-87312701670c;#11;#Präsentation|ac0394b7-6647-4784-b9aa-8c6ca5cac461;#8;#PowerPoint|789e89d4-fc54-4f4b-b468-ae03aedeb63b;#221;#PPT|a81bf98b-dc18-4b94-af90-016</vt:lpwstr>
  </property>
  <property fmtid="{D5CDD505-2E9C-101B-9397-08002B2CF9AE}" pid="15" name="Dokumentenkategorie">
    <vt:lpwstr>77;#Standard Dokument|5856c7dc-7809-4f58-8772-5cf102fafd14</vt:lpwstr>
  </property>
  <property fmtid="{D5CDD505-2E9C-101B-9397-08002B2CF9AE}" pid="16" name="eea296248e344bc4aa11f139cede455e">
    <vt:lpwstr/>
  </property>
  <property fmtid="{D5CDD505-2E9C-101B-9397-08002B2CF9AE}" pid="17" name="Projektkategorie">
    <vt:lpwstr/>
  </property>
  <property fmtid="{D5CDD505-2E9C-101B-9397-08002B2CF9AE}" pid="18" name="Kunde">
    <vt:lpwstr/>
  </property>
  <property fmtid="{D5CDD505-2E9C-101B-9397-08002B2CF9AE}" pid="19" name="Organisations-Einheit">
    <vt:lpwstr/>
  </property>
  <property fmtid="{D5CDD505-2E9C-101B-9397-08002B2CF9AE}" pid="20" name="l5b353217ca64259a41a5d980c4839f6">
    <vt:lpwstr/>
  </property>
  <property fmtid="{D5CDD505-2E9C-101B-9397-08002B2CF9AE}" pid="21" name="n0b2663cb06f4b48845034f165ad274c">
    <vt:lpwstr/>
  </property>
  <property fmtid="{D5CDD505-2E9C-101B-9397-08002B2CF9AE}" pid="22" name="i19f774f88074d1f9b90b1f32475359a">
    <vt:lpwstr/>
  </property>
  <property fmtid="{D5CDD505-2E9C-101B-9397-08002B2CF9AE}" pid="23" name="Produkt">
    <vt:lpwstr/>
  </property>
</Properties>
</file>